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93" r:id="rId2"/>
    <p:sldMasterId id="2147483727" r:id="rId3"/>
    <p:sldMasterId id="2147483746" r:id="rId4"/>
  </p:sldMasterIdLst>
  <p:notesMasterIdLst>
    <p:notesMasterId r:id="rId21"/>
  </p:notesMasterIdLst>
  <p:sldIdLst>
    <p:sldId id="697" r:id="rId5"/>
    <p:sldId id="2147308738" r:id="rId6"/>
    <p:sldId id="2147308721" r:id="rId7"/>
    <p:sldId id="2147308739" r:id="rId8"/>
    <p:sldId id="2147308747" r:id="rId9"/>
    <p:sldId id="2147308748" r:id="rId10"/>
    <p:sldId id="2147308740" r:id="rId11"/>
    <p:sldId id="2147308749" r:id="rId12"/>
    <p:sldId id="2147308742" r:id="rId13"/>
    <p:sldId id="2147308743" r:id="rId14"/>
    <p:sldId id="2147308745" r:id="rId15"/>
    <p:sldId id="2147308744" r:id="rId16"/>
    <p:sldId id="2147308667" r:id="rId17"/>
    <p:sldId id="2147308666" r:id="rId18"/>
    <p:sldId id="2147308639" r:id="rId19"/>
    <p:sldId id="2147308680" r:id="rId2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96325"/>
  </p:normalViewPr>
  <p:slideViewPr>
    <p:cSldViewPr snapToGrid="0">
      <p:cViewPr varScale="1">
        <p:scale>
          <a:sx n="79" d="100"/>
          <a:sy n="79" d="100"/>
        </p:scale>
        <p:origin x="60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C52ACF-F653-465B-A7A3-A7F8BD918766}" type="doc">
      <dgm:prSet loTypeId="urn:microsoft.com/office/officeart/2005/8/layout/gear1" loCatId="relationship" qsTypeId="urn:microsoft.com/office/officeart/2005/8/quickstyle/simple1" qsCatId="simple" csTypeId="urn:microsoft.com/office/officeart/2005/8/colors/colorful2" csCatId="colorful" phldr="1"/>
      <dgm:spPr/>
    </dgm:pt>
    <dgm:pt modelId="{17C3F041-BCB9-4058-A372-42F6D0396B1F}">
      <dgm:prSet phldrT="[Text]" custT="1"/>
      <dgm:spPr/>
      <dgm:t>
        <a:bodyPr/>
        <a:lstStyle/>
        <a:p>
          <a:r>
            <a:rPr lang="en-GB" sz="2000" b="1" dirty="0"/>
            <a:t>Formalistic, Procedures-focused regulation</a:t>
          </a:r>
          <a:endParaRPr lang="fr-FR" sz="2000" b="1" dirty="0"/>
        </a:p>
      </dgm:t>
    </dgm:pt>
    <dgm:pt modelId="{5881C9D7-5685-4756-99F4-C013474BA9F0}" type="parTrans" cxnId="{BA310F57-418C-4381-86EC-66699F741492}">
      <dgm:prSet/>
      <dgm:spPr/>
      <dgm:t>
        <a:bodyPr/>
        <a:lstStyle/>
        <a:p>
          <a:endParaRPr lang="fr-FR"/>
        </a:p>
      </dgm:t>
    </dgm:pt>
    <dgm:pt modelId="{18916E34-F5B9-45E4-A892-040FDF8DA88A}" type="sibTrans" cxnId="{BA310F57-418C-4381-86EC-66699F741492}">
      <dgm:prSet/>
      <dgm:spPr/>
      <dgm:t>
        <a:bodyPr/>
        <a:lstStyle/>
        <a:p>
          <a:endParaRPr lang="fr-FR"/>
        </a:p>
      </dgm:t>
    </dgm:pt>
    <dgm:pt modelId="{6D8B2717-CA09-416C-804E-E6F6DD3CF95E}">
      <dgm:prSet phldrT="[Text]" custT="1"/>
      <dgm:spPr/>
      <dgm:t>
        <a:bodyPr/>
        <a:lstStyle/>
        <a:p>
          <a:r>
            <a:rPr lang="en-GB" sz="1800" b="1" dirty="0"/>
            <a:t>Ineffective to protect  vulnerable</a:t>
          </a:r>
          <a:endParaRPr lang="fr-FR" sz="1800" b="1" dirty="0"/>
        </a:p>
      </dgm:t>
    </dgm:pt>
    <dgm:pt modelId="{9AE043F5-9735-4F79-BC78-2347B6B07D24}" type="parTrans" cxnId="{1CC4CB77-164A-413B-AB5F-75095B46978B}">
      <dgm:prSet/>
      <dgm:spPr/>
      <dgm:t>
        <a:bodyPr/>
        <a:lstStyle/>
        <a:p>
          <a:endParaRPr lang="fr-FR"/>
        </a:p>
      </dgm:t>
    </dgm:pt>
    <dgm:pt modelId="{45A46291-EA10-43ED-97C4-9CA101DE96EB}" type="sibTrans" cxnId="{1CC4CB77-164A-413B-AB5F-75095B46978B}">
      <dgm:prSet/>
      <dgm:spPr/>
      <dgm:t>
        <a:bodyPr/>
        <a:lstStyle/>
        <a:p>
          <a:endParaRPr lang="fr-FR"/>
        </a:p>
      </dgm:t>
    </dgm:pt>
    <dgm:pt modelId="{2B7985B6-6A1E-474A-AFDF-65521E86F8A2}">
      <dgm:prSet phldrT="[Text]" custT="1"/>
      <dgm:spPr/>
      <dgm:t>
        <a:bodyPr/>
        <a:lstStyle/>
        <a:p>
          <a:r>
            <a:rPr lang="en-GB" sz="1800" b="1" dirty="0"/>
            <a:t>Barriers for ‘less formal’ providers</a:t>
          </a:r>
          <a:endParaRPr lang="fr-FR" sz="1800" b="1" dirty="0"/>
        </a:p>
      </dgm:t>
    </dgm:pt>
    <dgm:pt modelId="{6882716C-7B54-4630-9D76-E222A7AC8A27}" type="parTrans" cxnId="{ACDF8FF7-3308-4B67-98F6-72CBAF3B4CB0}">
      <dgm:prSet/>
      <dgm:spPr/>
      <dgm:t>
        <a:bodyPr/>
        <a:lstStyle/>
        <a:p>
          <a:endParaRPr lang="fr-FR"/>
        </a:p>
      </dgm:t>
    </dgm:pt>
    <dgm:pt modelId="{A2B55445-87A8-4749-ABB2-895E971AAE27}" type="sibTrans" cxnId="{ACDF8FF7-3308-4B67-98F6-72CBAF3B4CB0}">
      <dgm:prSet/>
      <dgm:spPr/>
      <dgm:t>
        <a:bodyPr/>
        <a:lstStyle/>
        <a:p>
          <a:endParaRPr lang="fr-FR"/>
        </a:p>
      </dgm:t>
    </dgm:pt>
    <dgm:pt modelId="{5BFF42AD-52A4-48E8-93D6-6BB02E5286C6}" type="pres">
      <dgm:prSet presAssocID="{8CC52ACF-F653-465B-A7A3-A7F8BD91876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E4055EF-1E56-49EC-803E-6174489A8C11}" type="pres">
      <dgm:prSet presAssocID="{17C3F041-BCB9-4058-A372-42F6D0396B1F}" presName="gear1" presStyleLbl="node1" presStyleIdx="0" presStyleCnt="3">
        <dgm:presLayoutVars>
          <dgm:chMax val="1"/>
          <dgm:bulletEnabled val="1"/>
        </dgm:presLayoutVars>
      </dgm:prSet>
      <dgm:spPr/>
    </dgm:pt>
    <dgm:pt modelId="{FC8C242D-6800-4C24-8357-A006EEE84C27}" type="pres">
      <dgm:prSet presAssocID="{17C3F041-BCB9-4058-A372-42F6D0396B1F}" presName="gear1srcNode" presStyleLbl="node1" presStyleIdx="0" presStyleCnt="3"/>
      <dgm:spPr/>
    </dgm:pt>
    <dgm:pt modelId="{70959872-126A-41BA-9B8A-648583933905}" type="pres">
      <dgm:prSet presAssocID="{17C3F041-BCB9-4058-A372-42F6D0396B1F}" presName="gear1dstNode" presStyleLbl="node1" presStyleIdx="0" presStyleCnt="3"/>
      <dgm:spPr/>
    </dgm:pt>
    <dgm:pt modelId="{CC322E3A-BFA3-4C85-9762-B90AB83032D2}" type="pres">
      <dgm:prSet presAssocID="{6D8B2717-CA09-416C-804E-E6F6DD3CF95E}" presName="gear2" presStyleLbl="node1" presStyleIdx="1" presStyleCnt="3">
        <dgm:presLayoutVars>
          <dgm:chMax val="1"/>
          <dgm:bulletEnabled val="1"/>
        </dgm:presLayoutVars>
      </dgm:prSet>
      <dgm:spPr/>
    </dgm:pt>
    <dgm:pt modelId="{0A796460-D32F-423C-A320-232A0A597555}" type="pres">
      <dgm:prSet presAssocID="{6D8B2717-CA09-416C-804E-E6F6DD3CF95E}" presName="gear2srcNode" presStyleLbl="node1" presStyleIdx="1" presStyleCnt="3"/>
      <dgm:spPr/>
    </dgm:pt>
    <dgm:pt modelId="{D8D7A82D-FE5A-467A-91CD-B9F8061B43D9}" type="pres">
      <dgm:prSet presAssocID="{6D8B2717-CA09-416C-804E-E6F6DD3CF95E}" presName="gear2dstNode" presStyleLbl="node1" presStyleIdx="1" presStyleCnt="3"/>
      <dgm:spPr/>
    </dgm:pt>
    <dgm:pt modelId="{F09DA979-7A02-413E-A066-80FEFCAA112B}" type="pres">
      <dgm:prSet presAssocID="{2B7985B6-6A1E-474A-AFDF-65521E86F8A2}" presName="gear3" presStyleLbl="node1" presStyleIdx="2" presStyleCnt="3"/>
      <dgm:spPr/>
    </dgm:pt>
    <dgm:pt modelId="{312EA9C3-5700-4E15-A0A5-A9D24AE1A9DB}" type="pres">
      <dgm:prSet presAssocID="{2B7985B6-6A1E-474A-AFDF-65521E86F8A2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003E91CD-C4FE-4B35-B402-7D85DCFA2096}" type="pres">
      <dgm:prSet presAssocID="{2B7985B6-6A1E-474A-AFDF-65521E86F8A2}" presName="gear3srcNode" presStyleLbl="node1" presStyleIdx="2" presStyleCnt="3"/>
      <dgm:spPr/>
    </dgm:pt>
    <dgm:pt modelId="{9B07C6EE-4C95-43E6-A5D0-795FC9770311}" type="pres">
      <dgm:prSet presAssocID="{2B7985B6-6A1E-474A-AFDF-65521E86F8A2}" presName="gear3dstNode" presStyleLbl="node1" presStyleIdx="2" presStyleCnt="3"/>
      <dgm:spPr/>
    </dgm:pt>
    <dgm:pt modelId="{2808DD42-A8B2-4CFE-9F51-D9E6E0BF868B}" type="pres">
      <dgm:prSet presAssocID="{18916E34-F5B9-45E4-A892-040FDF8DA88A}" presName="connector1" presStyleLbl="sibTrans2D1" presStyleIdx="0" presStyleCnt="3"/>
      <dgm:spPr/>
    </dgm:pt>
    <dgm:pt modelId="{9391FB69-8C49-4B2D-85E3-8C519AB15722}" type="pres">
      <dgm:prSet presAssocID="{45A46291-EA10-43ED-97C4-9CA101DE96EB}" presName="connector2" presStyleLbl="sibTrans2D1" presStyleIdx="1" presStyleCnt="3"/>
      <dgm:spPr/>
    </dgm:pt>
    <dgm:pt modelId="{044327C2-6028-410C-B477-CE34E98E35EA}" type="pres">
      <dgm:prSet presAssocID="{A2B55445-87A8-4749-ABB2-895E971AAE27}" presName="connector3" presStyleLbl="sibTrans2D1" presStyleIdx="2" presStyleCnt="3"/>
      <dgm:spPr/>
    </dgm:pt>
  </dgm:ptLst>
  <dgm:cxnLst>
    <dgm:cxn modelId="{5C657300-8775-4A57-A3AA-493487FB760B}" type="presOf" srcId="{2B7985B6-6A1E-474A-AFDF-65521E86F8A2}" destId="{312EA9C3-5700-4E15-A0A5-A9D24AE1A9DB}" srcOrd="1" destOrd="0" presId="urn:microsoft.com/office/officeart/2005/8/layout/gear1"/>
    <dgm:cxn modelId="{BE50A71C-57E6-44CE-B792-DCA099670777}" type="presOf" srcId="{2B7985B6-6A1E-474A-AFDF-65521E86F8A2}" destId="{9B07C6EE-4C95-43E6-A5D0-795FC9770311}" srcOrd="3" destOrd="0" presId="urn:microsoft.com/office/officeart/2005/8/layout/gear1"/>
    <dgm:cxn modelId="{D3AFB44A-C5ED-4763-8B90-56BED2C8F0C3}" type="presOf" srcId="{2B7985B6-6A1E-474A-AFDF-65521E86F8A2}" destId="{F09DA979-7A02-413E-A066-80FEFCAA112B}" srcOrd="0" destOrd="0" presId="urn:microsoft.com/office/officeart/2005/8/layout/gear1"/>
    <dgm:cxn modelId="{DF48186B-F918-4D4D-AD4C-34BDE985A0DA}" type="presOf" srcId="{17C3F041-BCB9-4058-A372-42F6D0396B1F}" destId="{FC8C242D-6800-4C24-8357-A006EEE84C27}" srcOrd="1" destOrd="0" presId="urn:microsoft.com/office/officeart/2005/8/layout/gear1"/>
    <dgm:cxn modelId="{9961244D-5C39-4312-9DF0-0EA4E2067097}" type="presOf" srcId="{6D8B2717-CA09-416C-804E-E6F6DD3CF95E}" destId="{CC322E3A-BFA3-4C85-9762-B90AB83032D2}" srcOrd="0" destOrd="0" presId="urn:microsoft.com/office/officeart/2005/8/layout/gear1"/>
    <dgm:cxn modelId="{DD6BFF6E-3C26-4385-98A0-0F89E42559DB}" type="presOf" srcId="{18916E34-F5B9-45E4-A892-040FDF8DA88A}" destId="{2808DD42-A8B2-4CFE-9F51-D9E6E0BF868B}" srcOrd="0" destOrd="0" presId="urn:microsoft.com/office/officeart/2005/8/layout/gear1"/>
    <dgm:cxn modelId="{BA310F57-418C-4381-86EC-66699F741492}" srcId="{8CC52ACF-F653-465B-A7A3-A7F8BD918766}" destId="{17C3F041-BCB9-4058-A372-42F6D0396B1F}" srcOrd="0" destOrd="0" parTransId="{5881C9D7-5685-4756-99F4-C013474BA9F0}" sibTransId="{18916E34-F5B9-45E4-A892-040FDF8DA88A}"/>
    <dgm:cxn modelId="{1CC4CB77-164A-413B-AB5F-75095B46978B}" srcId="{8CC52ACF-F653-465B-A7A3-A7F8BD918766}" destId="{6D8B2717-CA09-416C-804E-E6F6DD3CF95E}" srcOrd="1" destOrd="0" parTransId="{9AE043F5-9735-4F79-BC78-2347B6B07D24}" sibTransId="{45A46291-EA10-43ED-97C4-9CA101DE96EB}"/>
    <dgm:cxn modelId="{F27EA19A-00E4-4AC6-B997-1BFCC10D50E8}" type="presOf" srcId="{6D8B2717-CA09-416C-804E-E6F6DD3CF95E}" destId="{0A796460-D32F-423C-A320-232A0A597555}" srcOrd="1" destOrd="0" presId="urn:microsoft.com/office/officeart/2005/8/layout/gear1"/>
    <dgm:cxn modelId="{19D04FA1-2C61-4C39-85C3-1CA4C01DC277}" type="presOf" srcId="{8CC52ACF-F653-465B-A7A3-A7F8BD918766}" destId="{5BFF42AD-52A4-48E8-93D6-6BB02E5286C6}" srcOrd="0" destOrd="0" presId="urn:microsoft.com/office/officeart/2005/8/layout/gear1"/>
    <dgm:cxn modelId="{6CB8A6B1-8B16-4AA5-B676-BAF4531C279B}" type="presOf" srcId="{17C3F041-BCB9-4058-A372-42F6D0396B1F}" destId="{70959872-126A-41BA-9B8A-648583933905}" srcOrd="2" destOrd="0" presId="urn:microsoft.com/office/officeart/2005/8/layout/gear1"/>
    <dgm:cxn modelId="{F6202AC0-118B-4CDB-99C5-C142E9DA4450}" type="presOf" srcId="{A2B55445-87A8-4749-ABB2-895E971AAE27}" destId="{044327C2-6028-410C-B477-CE34E98E35EA}" srcOrd="0" destOrd="0" presId="urn:microsoft.com/office/officeart/2005/8/layout/gear1"/>
    <dgm:cxn modelId="{DCBACBD4-5363-44A9-8D99-9C93091E5BAB}" type="presOf" srcId="{17C3F041-BCB9-4058-A372-42F6D0396B1F}" destId="{DE4055EF-1E56-49EC-803E-6174489A8C11}" srcOrd="0" destOrd="0" presId="urn:microsoft.com/office/officeart/2005/8/layout/gear1"/>
    <dgm:cxn modelId="{54ABA0DF-3188-4989-B2BC-B608F670B295}" type="presOf" srcId="{6D8B2717-CA09-416C-804E-E6F6DD3CF95E}" destId="{D8D7A82D-FE5A-467A-91CD-B9F8061B43D9}" srcOrd="2" destOrd="0" presId="urn:microsoft.com/office/officeart/2005/8/layout/gear1"/>
    <dgm:cxn modelId="{4C9FF1DF-4470-4E7B-94A1-91E1AA3107F6}" type="presOf" srcId="{2B7985B6-6A1E-474A-AFDF-65521E86F8A2}" destId="{003E91CD-C4FE-4B35-B402-7D85DCFA2096}" srcOrd="2" destOrd="0" presId="urn:microsoft.com/office/officeart/2005/8/layout/gear1"/>
    <dgm:cxn modelId="{327A5AF5-DC35-4258-8DF2-18D3964D243B}" type="presOf" srcId="{45A46291-EA10-43ED-97C4-9CA101DE96EB}" destId="{9391FB69-8C49-4B2D-85E3-8C519AB15722}" srcOrd="0" destOrd="0" presId="urn:microsoft.com/office/officeart/2005/8/layout/gear1"/>
    <dgm:cxn modelId="{ACDF8FF7-3308-4B67-98F6-72CBAF3B4CB0}" srcId="{8CC52ACF-F653-465B-A7A3-A7F8BD918766}" destId="{2B7985B6-6A1E-474A-AFDF-65521E86F8A2}" srcOrd="2" destOrd="0" parTransId="{6882716C-7B54-4630-9D76-E222A7AC8A27}" sibTransId="{A2B55445-87A8-4749-ABB2-895E971AAE27}"/>
    <dgm:cxn modelId="{5670FE65-DB6E-4356-909A-ED3549D170F9}" type="presParOf" srcId="{5BFF42AD-52A4-48E8-93D6-6BB02E5286C6}" destId="{DE4055EF-1E56-49EC-803E-6174489A8C11}" srcOrd="0" destOrd="0" presId="urn:microsoft.com/office/officeart/2005/8/layout/gear1"/>
    <dgm:cxn modelId="{15981496-3B2F-4E24-BAF2-6894A838A318}" type="presParOf" srcId="{5BFF42AD-52A4-48E8-93D6-6BB02E5286C6}" destId="{FC8C242D-6800-4C24-8357-A006EEE84C27}" srcOrd="1" destOrd="0" presId="urn:microsoft.com/office/officeart/2005/8/layout/gear1"/>
    <dgm:cxn modelId="{AF799023-6390-4254-A7C0-E0443099DD31}" type="presParOf" srcId="{5BFF42AD-52A4-48E8-93D6-6BB02E5286C6}" destId="{70959872-126A-41BA-9B8A-648583933905}" srcOrd="2" destOrd="0" presId="urn:microsoft.com/office/officeart/2005/8/layout/gear1"/>
    <dgm:cxn modelId="{A20B61FB-7E41-4F68-9ACA-CB81CC917FA2}" type="presParOf" srcId="{5BFF42AD-52A4-48E8-93D6-6BB02E5286C6}" destId="{CC322E3A-BFA3-4C85-9762-B90AB83032D2}" srcOrd="3" destOrd="0" presId="urn:microsoft.com/office/officeart/2005/8/layout/gear1"/>
    <dgm:cxn modelId="{42054352-9A7D-4D8D-8CBC-843BF694602B}" type="presParOf" srcId="{5BFF42AD-52A4-48E8-93D6-6BB02E5286C6}" destId="{0A796460-D32F-423C-A320-232A0A597555}" srcOrd="4" destOrd="0" presId="urn:microsoft.com/office/officeart/2005/8/layout/gear1"/>
    <dgm:cxn modelId="{64AC3DA9-9C9D-4283-B8A4-54CFB955EC70}" type="presParOf" srcId="{5BFF42AD-52A4-48E8-93D6-6BB02E5286C6}" destId="{D8D7A82D-FE5A-467A-91CD-B9F8061B43D9}" srcOrd="5" destOrd="0" presId="urn:microsoft.com/office/officeart/2005/8/layout/gear1"/>
    <dgm:cxn modelId="{739AB579-3597-464E-931E-B0A99164B6B1}" type="presParOf" srcId="{5BFF42AD-52A4-48E8-93D6-6BB02E5286C6}" destId="{F09DA979-7A02-413E-A066-80FEFCAA112B}" srcOrd="6" destOrd="0" presId="urn:microsoft.com/office/officeart/2005/8/layout/gear1"/>
    <dgm:cxn modelId="{010F23B6-634B-43F7-B69A-F1242171C88E}" type="presParOf" srcId="{5BFF42AD-52A4-48E8-93D6-6BB02E5286C6}" destId="{312EA9C3-5700-4E15-A0A5-A9D24AE1A9DB}" srcOrd="7" destOrd="0" presId="urn:microsoft.com/office/officeart/2005/8/layout/gear1"/>
    <dgm:cxn modelId="{2A982D96-3BDE-4994-9FA3-7A2508164C83}" type="presParOf" srcId="{5BFF42AD-52A4-48E8-93D6-6BB02E5286C6}" destId="{003E91CD-C4FE-4B35-B402-7D85DCFA2096}" srcOrd="8" destOrd="0" presId="urn:microsoft.com/office/officeart/2005/8/layout/gear1"/>
    <dgm:cxn modelId="{9BABBC92-46CC-4EB3-AC21-D803DB51D086}" type="presParOf" srcId="{5BFF42AD-52A4-48E8-93D6-6BB02E5286C6}" destId="{9B07C6EE-4C95-43E6-A5D0-795FC9770311}" srcOrd="9" destOrd="0" presId="urn:microsoft.com/office/officeart/2005/8/layout/gear1"/>
    <dgm:cxn modelId="{1183B829-9E5C-47D5-B059-7D832E723FEB}" type="presParOf" srcId="{5BFF42AD-52A4-48E8-93D6-6BB02E5286C6}" destId="{2808DD42-A8B2-4CFE-9F51-D9E6E0BF868B}" srcOrd="10" destOrd="0" presId="urn:microsoft.com/office/officeart/2005/8/layout/gear1"/>
    <dgm:cxn modelId="{8C009541-8666-46E5-9C18-54F041EC22B6}" type="presParOf" srcId="{5BFF42AD-52A4-48E8-93D6-6BB02E5286C6}" destId="{9391FB69-8C49-4B2D-85E3-8C519AB15722}" srcOrd="11" destOrd="0" presId="urn:microsoft.com/office/officeart/2005/8/layout/gear1"/>
    <dgm:cxn modelId="{E46B32A2-71E3-416A-BC09-75C540F765F8}" type="presParOf" srcId="{5BFF42AD-52A4-48E8-93D6-6BB02E5286C6}" destId="{044327C2-6028-410C-B477-CE34E98E35EA}" srcOrd="12" destOrd="0" presId="urn:microsoft.com/office/officeart/2005/8/layout/gear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394A79-15F2-491F-9345-343419410BB3}" type="doc">
      <dgm:prSet loTypeId="urn:microsoft.com/office/officeart/2005/8/layout/hProcess9" loCatId="process" qsTypeId="urn:microsoft.com/office/officeart/2005/8/quickstyle/simple2" qsCatId="simple" csTypeId="urn:microsoft.com/office/officeart/2005/8/colors/colorful1" csCatId="colorful" phldr="1"/>
      <dgm:spPr/>
    </dgm:pt>
    <dgm:pt modelId="{CCCB480D-9A09-4B95-A47E-8F162FBB04AB}">
      <dgm:prSet phldrT="[Text]"/>
      <dgm:spPr/>
      <dgm:t>
        <a:bodyPr/>
        <a:lstStyle/>
        <a:p>
          <a:r>
            <a:rPr lang="en-US" dirty="0">
              <a:latin typeface="Montserrat" panose="00000500000000000000" pitchFamily="2" charset="0"/>
            </a:rPr>
            <a:t>Formalistic, heavy licensing etc.</a:t>
          </a:r>
          <a:endParaRPr lang="fr-FR" dirty="0">
            <a:latin typeface="Montserrat" panose="00000500000000000000" pitchFamily="2" charset="0"/>
          </a:endParaRPr>
        </a:p>
      </dgm:t>
    </dgm:pt>
    <dgm:pt modelId="{CD69318C-7B34-4E77-8E3C-745F28E1CE1F}" type="parTrans" cxnId="{0E76E8AF-FB75-43F6-BDCB-FC454F1072E0}">
      <dgm:prSet/>
      <dgm:spPr/>
      <dgm:t>
        <a:bodyPr/>
        <a:lstStyle/>
        <a:p>
          <a:endParaRPr lang="fr-FR"/>
        </a:p>
      </dgm:t>
    </dgm:pt>
    <dgm:pt modelId="{E0BF1191-4D72-4A50-9642-C7D27D5CB00F}" type="sibTrans" cxnId="{0E76E8AF-FB75-43F6-BDCB-FC454F1072E0}">
      <dgm:prSet/>
      <dgm:spPr/>
      <dgm:t>
        <a:bodyPr/>
        <a:lstStyle/>
        <a:p>
          <a:endParaRPr lang="fr-FR"/>
        </a:p>
      </dgm:t>
    </dgm:pt>
    <dgm:pt modelId="{1B54654E-77CC-4A44-A680-8D6EFDAD47DE}">
      <dgm:prSet phldrT="[Text]"/>
      <dgm:spPr/>
      <dgm:t>
        <a:bodyPr/>
        <a:lstStyle/>
        <a:p>
          <a:r>
            <a:rPr lang="en-GB" dirty="0">
              <a:latin typeface="Montserrat" panose="00000500000000000000" pitchFamily="2" charset="0"/>
            </a:rPr>
            <a:t>Focus on process, not outcomes!</a:t>
          </a:r>
          <a:endParaRPr lang="fr-FR" dirty="0">
            <a:latin typeface="Montserrat" panose="00000500000000000000" pitchFamily="2" charset="0"/>
          </a:endParaRPr>
        </a:p>
      </dgm:t>
    </dgm:pt>
    <dgm:pt modelId="{15B515B1-B672-461E-8BBA-97AEC4B9472E}" type="parTrans" cxnId="{C884FEA6-38D7-464B-BA47-D2096F5CE5F9}">
      <dgm:prSet/>
      <dgm:spPr/>
      <dgm:t>
        <a:bodyPr/>
        <a:lstStyle/>
        <a:p>
          <a:endParaRPr lang="fr-FR"/>
        </a:p>
      </dgm:t>
    </dgm:pt>
    <dgm:pt modelId="{8536D707-BE40-4454-B150-1F0A1C66ED3C}" type="sibTrans" cxnId="{C884FEA6-38D7-464B-BA47-D2096F5CE5F9}">
      <dgm:prSet/>
      <dgm:spPr/>
      <dgm:t>
        <a:bodyPr/>
        <a:lstStyle/>
        <a:p>
          <a:endParaRPr lang="fr-FR"/>
        </a:p>
      </dgm:t>
    </dgm:pt>
    <dgm:pt modelId="{981A51B3-0F93-8245-9BE6-FEE2B73C5EA4}" type="pres">
      <dgm:prSet presAssocID="{1D394A79-15F2-491F-9345-343419410BB3}" presName="CompostProcess" presStyleCnt="0">
        <dgm:presLayoutVars>
          <dgm:dir/>
          <dgm:resizeHandles val="exact"/>
        </dgm:presLayoutVars>
      </dgm:prSet>
      <dgm:spPr/>
    </dgm:pt>
    <dgm:pt modelId="{06E261EF-FEE3-F742-8475-6C6CC0FB090A}" type="pres">
      <dgm:prSet presAssocID="{1D394A79-15F2-491F-9345-343419410BB3}" presName="arrow" presStyleLbl="bgShp" presStyleIdx="0" presStyleCnt="1"/>
      <dgm:spPr/>
    </dgm:pt>
    <dgm:pt modelId="{843C1DEE-40CF-C84F-945B-4CC4ADFE6B6B}" type="pres">
      <dgm:prSet presAssocID="{1D394A79-15F2-491F-9345-343419410BB3}" presName="linearProcess" presStyleCnt="0"/>
      <dgm:spPr/>
    </dgm:pt>
    <dgm:pt modelId="{D4080B87-DE18-334E-820F-88F058CD7CE4}" type="pres">
      <dgm:prSet presAssocID="{CCCB480D-9A09-4B95-A47E-8F162FBB04AB}" presName="textNode" presStyleLbl="node1" presStyleIdx="0" presStyleCnt="2">
        <dgm:presLayoutVars>
          <dgm:bulletEnabled val="1"/>
        </dgm:presLayoutVars>
      </dgm:prSet>
      <dgm:spPr/>
    </dgm:pt>
    <dgm:pt modelId="{B23F6EB0-B740-BB4D-9D52-92CF7A6E318E}" type="pres">
      <dgm:prSet presAssocID="{E0BF1191-4D72-4A50-9642-C7D27D5CB00F}" presName="sibTrans" presStyleCnt="0"/>
      <dgm:spPr/>
    </dgm:pt>
    <dgm:pt modelId="{4F5325D0-B465-6548-968A-5BB285EB244E}" type="pres">
      <dgm:prSet presAssocID="{1B54654E-77CC-4A44-A680-8D6EFDAD47DE}" presName="textNode" presStyleLbl="node1" presStyleIdx="1" presStyleCnt="2">
        <dgm:presLayoutVars>
          <dgm:bulletEnabled val="1"/>
        </dgm:presLayoutVars>
      </dgm:prSet>
      <dgm:spPr/>
    </dgm:pt>
  </dgm:ptLst>
  <dgm:cxnLst>
    <dgm:cxn modelId="{82069B16-89E7-D34C-9ECE-DE9A734E68EF}" type="presOf" srcId="{1D394A79-15F2-491F-9345-343419410BB3}" destId="{981A51B3-0F93-8245-9BE6-FEE2B73C5EA4}" srcOrd="0" destOrd="0" presId="urn:microsoft.com/office/officeart/2005/8/layout/hProcess9"/>
    <dgm:cxn modelId="{0CF92E92-CAD9-CD40-B7AD-18B5FBC2EEBD}" type="presOf" srcId="{CCCB480D-9A09-4B95-A47E-8F162FBB04AB}" destId="{D4080B87-DE18-334E-820F-88F058CD7CE4}" srcOrd="0" destOrd="0" presId="urn:microsoft.com/office/officeart/2005/8/layout/hProcess9"/>
    <dgm:cxn modelId="{C9B36BA1-D652-8C41-9505-B5918A94F70E}" type="presOf" srcId="{1B54654E-77CC-4A44-A680-8D6EFDAD47DE}" destId="{4F5325D0-B465-6548-968A-5BB285EB244E}" srcOrd="0" destOrd="0" presId="urn:microsoft.com/office/officeart/2005/8/layout/hProcess9"/>
    <dgm:cxn modelId="{C884FEA6-38D7-464B-BA47-D2096F5CE5F9}" srcId="{1D394A79-15F2-491F-9345-343419410BB3}" destId="{1B54654E-77CC-4A44-A680-8D6EFDAD47DE}" srcOrd="1" destOrd="0" parTransId="{15B515B1-B672-461E-8BBA-97AEC4B9472E}" sibTransId="{8536D707-BE40-4454-B150-1F0A1C66ED3C}"/>
    <dgm:cxn modelId="{0E76E8AF-FB75-43F6-BDCB-FC454F1072E0}" srcId="{1D394A79-15F2-491F-9345-343419410BB3}" destId="{CCCB480D-9A09-4B95-A47E-8F162FBB04AB}" srcOrd="0" destOrd="0" parTransId="{CD69318C-7B34-4E77-8E3C-745F28E1CE1F}" sibTransId="{E0BF1191-4D72-4A50-9642-C7D27D5CB00F}"/>
    <dgm:cxn modelId="{052E5728-2965-0B4A-91CB-DF164A917F11}" type="presParOf" srcId="{981A51B3-0F93-8245-9BE6-FEE2B73C5EA4}" destId="{06E261EF-FEE3-F742-8475-6C6CC0FB090A}" srcOrd="0" destOrd="0" presId="urn:microsoft.com/office/officeart/2005/8/layout/hProcess9"/>
    <dgm:cxn modelId="{814B6D01-D1E9-6A45-AC46-BA812F0FD788}" type="presParOf" srcId="{981A51B3-0F93-8245-9BE6-FEE2B73C5EA4}" destId="{843C1DEE-40CF-C84F-945B-4CC4ADFE6B6B}" srcOrd="1" destOrd="0" presId="urn:microsoft.com/office/officeart/2005/8/layout/hProcess9"/>
    <dgm:cxn modelId="{AF8A0F83-48CF-0646-BDB4-BF4E8491528F}" type="presParOf" srcId="{843C1DEE-40CF-C84F-945B-4CC4ADFE6B6B}" destId="{D4080B87-DE18-334E-820F-88F058CD7CE4}" srcOrd="0" destOrd="0" presId="urn:microsoft.com/office/officeart/2005/8/layout/hProcess9"/>
    <dgm:cxn modelId="{FD4F9EE7-BD5C-4C48-BD65-50B76C7D4C6D}" type="presParOf" srcId="{843C1DEE-40CF-C84F-945B-4CC4ADFE6B6B}" destId="{B23F6EB0-B740-BB4D-9D52-92CF7A6E318E}" srcOrd="1" destOrd="0" presId="urn:microsoft.com/office/officeart/2005/8/layout/hProcess9"/>
    <dgm:cxn modelId="{4B27173E-A37F-364A-AD26-BAA5D8880E68}" type="presParOf" srcId="{843C1DEE-40CF-C84F-945B-4CC4ADFE6B6B}" destId="{4F5325D0-B465-6548-968A-5BB285EB244E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0A5267-E76A-4544-9ABC-5C9F38804B3C}" type="doc">
      <dgm:prSet loTypeId="urn:microsoft.com/office/officeart/2005/8/layout/process5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fr-FR"/>
        </a:p>
      </dgm:t>
    </dgm:pt>
    <dgm:pt modelId="{185B4538-5A90-4A35-83AC-8524B6F7B8CE}">
      <dgm:prSet phldrT="[Text]"/>
      <dgm:spPr/>
      <dgm:t>
        <a:bodyPr/>
        <a:lstStyle/>
        <a:p>
          <a:r>
            <a:rPr lang="en-GB" i="1" dirty="0"/>
            <a:t>Ex ante </a:t>
          </a:r>
          <a:r>
            <a:rPr lang="en-GB" i="0" dirty="0"/>
            <a:t>controls</a:t>
          </a:r>
          <a:endParaRPr lang="fr-FR" i="1" dirty="0"/>
        </a:p>
      </dgm:t>
    </dgm:pt>
    <dgm:pt modelId="{01EC843A-38E7-4282-B5B7-3A59AF5DF0AD}" type="parTrans" cxnId="{6FBE9051-20DA-49B9-BB37-D18AA7C40571}">
      <dgm:prSet/>
      <dgm:spPr/>
      <dgm:t>
        <a:bodyPr/>
        <a:lstStyle/>
        <a:p>
          <a:endParaRPr lang="fr-FR"/>
        </a:p>
      </dgm:t>
    </dgm:pt>
    <dgm:pt modelId="{6D63B32F-E42C-4C57-82F3-DBD2EDFB3FEE}" type="sibTrans" cxnId="{6FBE9051-20DA-49B9-BB37-D18AA7C40571}">
      <dgm:prSet/>
      <dgm:spPr/>
      <dgm:t>
        <a:bodyPr/>
        <a:lstStyle/>
        <a:p>
          <a:endParaRPr lang="fr-FR"/>
        </a:p>
      </dgm:t>
    </dgm:pt>
    <dgm:pt modelId="{1F11B17E-FB12-41F0-9DBF-224949D3C1FE}">
      <dgm:prSet phldrT="[Text]"/>
      <dgm:spPr/>
      <dgm:t>
        <a:bodyPr/>
        <a:lstStyle/>
        <a:p>
          <a:r>
            <a:rPr lang="en-GB" dirty="0"/>
            <a:t>Formal checks</a:t>
          </a:r>
          <a:endParaRPr lang="fr-FR" dirty="0"/>
        </a:p>
      </dgm:t>
    </dgm:pt>
    <dgm:pt modelId="{815DE3E5-8234-4E8C-97C2-97E6A34C0F7E}" type="parTrans" cxnId="{A732C50A-608C-41F1-80AD-0FA36F31CE8E}">
      <dgm:prSet/>
      <dgm:spPr/>
      <dgm:t>
        <a:bodyPr/>
        <a:lstStyle/>
        <a:p>
          <a:endParaRPr lang="fr-FR"/>
        </a:p>
      </dgm:t>
    </dgm:pt>
    <dgm:pt modelId="{5F25383C-01F6-4F39-9973-089200EE8839}" type="sibTrans" cxnId="{A732C50A-608C-41F1-80AD-0FA36F31CE8E}">
      <dgm:prSet/>
      <dgm:spPr/>
      <dgm:t>
        <a:bodyPr/>
        <a:lstStyle/>
        <a:p>
          <a:endParaRPr lang="fr-FR"/>
        </a:p>
      </dgm:t>
    </dgm:pt>
    <dgm:pt modelId="{4C76FE96-1217-404F-B10F-6F1AD69F3E15}">
      <dgm:prSet phldrT="[Text]"/>
      <dgm:spPr/>
      <dgm:t>
        <a:bodyPr/>
        <a:lstStyle/>
        <a:p>
          <a:r>
            <a:rPr lang="en-GB" dirty="0"/>
            <a:t>1.Credentials</a:t>
          </a:r>
        </a:p>
        <a:p>
          <a:r>
            <a:rPr lang="en-GB" dirty="0"/>
            <a:t>2.Processes</a:t>
          </a:r>
          <a:endParaRPr lang="fr-FR" dirty="0"/>
        </a:p>
      </dgm:t>
    </dgm:pt>
    <dgm:pt modelId="{7487B99A-5780-4FED-9818-95D997AADDA9}" type="parTrans" cxnId="{108D74EB-4A30-4E76-A254-0129212BD93A}">
      <dgm:prSet/>
      <dgm:spPr/>
      <dgm:t>
        <a:bodyPr/>
        <a:lstStyle/>
        <a:p>
          <a:endParaRPr lang="fr-FR"/>
        </a:p>
      </dgm:t>
    </dgm:pt>
    <dgm:pt modelId="{A622F8AE-4B9C-4181-BA03-C847E9AC8A1E}" type="sibTrans" cxnId="{108D74EB-4A30-4E76-A254-0129212BD93A}">
      <dgm:prSet/>
      <dgm:spPr/>
      <dgm:t>
        <a:bodyPr/>
        <a:lstStyle/>
        <a:p>
          <a:endParaRPr lang="fr-FR"/>
        </a:p>
      </dgm:t>
    </dgm:pt>
    <dgm:pt modelId="{39BF3378-46A5-47AE-8AD5-BA5D6823965B}">
      <dgm:prSet phldrT="[Text]"/>
      <dgm:spPr/>
      <dgm:t>
        <a:bodyPr/>
        <a:lstStyle/>
        <a:p>
          <a:r>
            <a:rPr lang="en-GB" dirty="0"/>
            <a:t>High barriers to entry</a:t>
          </a:r>
          <a:endParaRPr lang="fr-FR" dirty="0"/>
        </a:p>
      </dgm:t>
    </dgm:pt>
    <dgm:pt modelId="{D5598659-0B4A-46DB-8D12-661E8EA4C432}" type="parTrans" cxnId="{FCAB26FA-D92A-4DA2-9C21-26E18680965A}">
      <dgm:prSet/>
      <dgm:spPr/>
      <dgm:t>
        <a:bodyPr/>
        <a:lstStyle/>
        <a:p>
          <a:endParaRPr lang="fr-FR"/>
        </a:p>
      </dgm:t>
    </dgm:pt>
    <dgm:pt modelId="{ECFB8064-F408-4804-BBD9-C2F0ACA5E92D}" type="sibTrans" cxnId="{FCAB26FA-D92A-4DA2-9C21-26E18680965A}">
      <dgm:prSet/>
      <dgm:spPr/>
      <dgm:t>
        <a:bodyPr/>
        <a:lstStyle/>
        <a:p>
          <a:endParaRPr lang="fr-FR"/>
        </a:p>
      </dgm:t>
    </dgm:pt>
    <dgm:pt modelId="{F7BA17D7-BF62-498B-BFF9-AD63717905D8}">
      <dgm:prSet phldrT="[Text]"/>
      <dgm:spPr/>
      <dgm:t>
        <a:bodyPr/>
        <a:lstStyle/>
        <a:p>
          <a:r>
            <a:rPr lang="en-GB" dirty="0"/>
            <a:t>Minority &amp; smaller providers excluded</a:t>
          </a:r>
          <a:endParaRPr lang="fr-FR" dirty="0"/>
        </a:p>
      </dgm:t>
    </dgm:pt>
    <dgm:pt modelId="{055ABC71-26BB-4717-81BC-C45C91344ABF}" type="parTrans" cxnId="{85B37C7B-6726-4CC3-A649-215A7CA0A008}">
      <dgm:prSet/>
      <dgm:spPr/>
      <dgm:t>
        <a:bodyPr/>
        <a:lstStyle/>
        <a:p>
          <a:endParaRPr lang="fr-FR"/>
        </a:p>
      </dgm:t>
    </dgm:pt>
    <dgm:pt modelId="{F2E6840D-7ED8-4C5A-9AEB-2F6FBBE8CA11}" type="sibTrans" cxnId="{85B37C7B-6726-4CC3-A649-215A7CA0A008}">
      <dgm:prSet/>
      <dgm:spPr/>
      <dgm:t>
        <a:bodyPr/>
        <a:lstStyle/>
        <a:p>
          <a:endParaRPr lang="fr-FR"/>
        </a:p>
      </dgm:t>
    </dgm:pt>
    <dgm:pt modelId="{AF19D87F-4E94-4C6D-A555-FACBBA7BCB32}">
      <dgm:prSet phldrT="[Text]"/>
      <dgm:spPr/>
      <dgm:t>
        <a:bodyPr/>
        <a:lstStyle/>
        <a:p>
          <a:r>
            <a:rPr lang="en-GB" dirty="0"/>
            <a:t>Larger firms control the care market</a:t>
          </a:r>
          <a:endParaRPr lang="fr-FR" dirty="0"/>
        </a:p>
      </dgm:t>
    </dgm:pt>
    <dgm:pt modelId="{97CE5E91-43F7-4933-BA0B-1A3752D38974}" type="parTrans" cxnId="{050E3438-DAB4-4809-9BB3-136E0FFA91E8}">
      <dgm:prSet/>
      <dgm:spPr/>
      <dgm:t>
        <a:bodyPr/>
        <a:lstStyle/>
        <a:p>
          <a:endParaRPr lang="fr-FR"/>
        </a:p>
      </dgm:t>
    </dgm:pt>
    <dgm:pt modelId="{D6852311-019F-4B2D-9D39-AAE5E691F478}" type="sibTrans" cxnId="{050E3438-DAB4-4809-9BB3-136E0FFA91E8}">
      <dgm:prSet/>
      <dgm:spPr/>
      <dgm:t>
        <a:bodyPr/>
        <a:lstStyle/>
        <a:p>
          <a:endParaRPr lang="fr-FR"/>
        </a:p>
      </dgm:t>
    </dgm:pt>
    <dgm:pt modelId="{0AA0C3E5-BAE5-4119-9C46-65991AC719E6}" type="pres">
      <dgm:prSet presAssocID="{720A5267-E76A-4544-9ABC-5C9F38804B3C}" presName="diagram" presStyleCnt="0">
        <dgm:presLayoutVars>
          <dgm:dir/>
          <dgm:resizeHandles val="exact"/>
        </dgm:presLayoutVars>
      </dgm:prSet>
      <dgm:spPr/>
    </dgm:pt>
    <dgm:pt modelId="{D4217278-E818-4615-B5F5-A606A3A48DAE}" type="pres">
      <dgm:prSet presAssocID="{185B4538-5A90-4A35-83AC-8524B6F7B8CE}" presName="node" presStyleLbl="node1" presStyleIdx="0" presStyleCnt="6">
        <dgm:presLayoutVars>
          <dgm:bulletEnabled val="1"/>
        </dgm:presLayoutVars>
      </dgm:prSet>
      <dgm:spPr/>
    </dgm:pt>
    <dgm:pt modelId="{B045A628-C138-44B7-BA67-C6EF2C675381}" type="pres">
      <dgm:prSet presAssocID="{6D63B32F-E42C-4C57-82F3-DBD2EDFB3FEE}" presName="sibTrans" presStyleLbl="sibTrans2D1" presStyleIdx="0" presStyleCnt="5"/>
      <dgm:spPr/>
    </dgm:pt>
    <dgm:pt modelId="{768B737B-FAB7-400C-A80C-C524C450AADF}" type="pres">
      <dgm:prSet presAssocID="{6D63B32F-E42C-4C57-82F3-DBD2EDFB3FEE}" presName="connectorText" presStyleLbl="sibTrans2D1" presStyleIdx="0" presStyleCnt="5"/>
      <dgm:spPr/>
    </dgm:pt>
    <dgm:pt modelId="{21C2198D-A19E-4598-8080-E110D52CA372}" type="pres">
      <dgm:prSet presAssocID="{1F11B17E-FB12-41F0-9DBF-224949D3C1FE}" presName="node" presStyleLbl="node1" presStyleIdx="1" presStyleCnt="6">
        <dgm:presLayoutVars>
          <dgm:bulletEnabled val="1"/>
        </dgm:presLayoutVars>
      </dgm:prSet>
      <dgm:spPr/>
    </dgm:pt>
    <dgm:pt modelId="{DE5F5156-77B5-4F9F-8176-4EA5C2710D5F}" type="pres">
      <dgm:prSet presAssocID="{5F25383C-01F6-4F39-9973-089200EE8839}" presName="sibTrans" presStyleLbl="sibTrans2D1" presStyleIdx="1" presStyleCnt="5"/>
      <dgm:spPr/>
    </dgm:pt>
    <dgm:pt modelId="{157DB3FE-AFE9-42EE-B68D-CF09B94BAE0E}" type="pres">
      <dgm:prSet presAssocID="{5F25383C-01F6-4F39-9973-089200EE8839}" presName="connectorText" presStyleLbl="sibTrans2D1" presStyleIdx="1" presStyleCnt="5"/>
      <dgm:spPr/>
    </dgm:pt>
    <dgm:pt modelId="{385610EB-2BF0-44FD-899C-EF02548BDAD5}" type="pres">
      <dgm:prSet presAssocID="{4C76FE96-1217-404F-B10F-6F1AD69F3E15}" presName="node" presStyleLbl="node1" presStyleIdx="2" presStyleCnt="6">
        <dgm:presLayoutVars>
          <dgm:bulletEnabled val="1"/>
        </dgm:presLayoutVars>
      </dgm:prSet>
      <dgm:spPr/>
    </dgm:pt>
    <dgm:pt modelId="{898BA90D-4167-4631-9667-58E18EF45696}" type="pres">
      <dgm:prSet presAssocID="{A622F8AE-4B9C-4181-BA03-C847E9AC8A1E}" presName="sibTrans" presStyleLbl="sibTrans2D1" presStyleIdx="2" presStyleCnt="5"/>
      <dgm:spPr/>
    </dgm:pt>
    <dgm:pt modelId="{325E0A8B-546E-4A7F-A9E8-5144FB591E68}" type="pres">
      <dgm:prSet presAssocID="{A622F8AE-4B9C-4181-BA03-C847E9AC8A1E}" presName="connectorText" presStyleLbl="sibTrans2D1" presStyleIdx="2" presStyleCnt="5"/>
      <dgm:spPr/>
    </dgm:pt>
    <dgm:pt modelId="{10858A17-348F-4A40-818F-51A1CBFB6BEA}" type="pres">
      <dgm:prSet presAssocID="{39BF3378-46A5-47AE-8AD5-BA5D6823965B}" presName="node" presStyleLbl="node1" presStyleIdx="3" presStyleCnt="6">
        <dgm:presLayoutVars>
          <dgm:bulletEnabled val="1"/>
        </dgm:presLayoutVars>
      </dgm:prSet>
      <dgm:spPr/>
    </dgm:pt>
    <dgm:pt modelId="{FA8F3A1D-CDBE-414D-BA9B-EA59A896E807}" type="pres">
      <dgm:prSet presAssocID="{ECFB8064-F408-4804-BBD9-C2F0ACA5E92D}" presName="sibTrans" presStyleLbl="sibTrans2D1" presStyleIdx="3" presStyleCnt="5"/>
      <dgm:spPr/>
    </dgm:pt>
    <dgm:pt modelId="{96910876-0598-4094-AE30-115745782057}" type="pres">
      <dgm:prSet presAssocID="{ECFB8064-F408-4804-BBD9-C2F0ACA5E92D}" presName="connectorText" presStyleLbl="sibTrans2D1" presStyleIdx="3" presStyleCnt="5"/>
      <dgm:spPr/>
    </dgm:pt>
    <dgm:pt modelId="{684F2171-691A-4114-AB4C-87C6EDBA84C1}" type="pres">
      <dgm:prSet presAssocID="{F7BA17D7-BF62-498B-BFF9-AD63717905D8}" presName="node" presStyleLbl="node1" presStyleIdx="4" presStyleCnt="6">
        <dgm:presLayoutVars>
          <dgm:bulletEnabled val="1"/>
        </dgm:presLayoutVars>
      </dgm:prSet>
      <dgm:spPr/>
    </dgm:pt>
    <dgm:pt modelId="{B2231D0F-C5ED-4815-A7C2-F06C46A71089}" type="pres">
      <dgm:prSet presAssocID="{F2E6840D-7ED8-4C5A-9AEB-2F6FBBE8CA11}" presName="sibTrans" presStyleLbl="sibTrans2D1" presStyleIdx="4" presStyleCnt="5"/>
      <dgm:spPr/>
    </dgm:pt>
    <dgm:pt modelId="{443FAFCD-0A04-4B05-BF4D-98938D04B320}" type="pres">
      <dgm:prSet presAssocID="{F2E6840D-7ED8-4C5A-9AEB-2F6FBBE8CA11}" presName="connectorText" presStyleLbl="sibTrans2D1" presStyleIdx="4" presStyleCnt="5"/>
      <dgm:spPr/>
    </dgm:pt>
    <dgm:pt modelId="{B6E79F4B-84E7-4D04-B28D-385E7264E693}" type="pres">
      <dgm:prSet presAssocID="{AF19D87F-4E94-4C6D-A555-FACBBA7BCB32}" presName="node" presStyleLbl="node1" presStyleIdx="5" presStyleCnt="6">
        <dgm:presLayoutVars>
          <dgm:bulletEnabled val="1"/>
        </dgm:presLayoutVars>
      </dgm:prSet>
      <dgm:spPr/>
    </dgm:pt>
  </dgm:ptLst>
  <dgm:cxnLst>
    <dgm:cxn modelId="{A732C50A-608C-41F1-80AD-0FA36F31CE8E}" srcId="{720A5267-E76A-4544-9ABC-5C9F38804B3C}" destId="{1F11B17E-FB12-41F0-9DBF-224949D3C1FE}" srcOrd="1" destOrd="0" parTransId="{815DE3E5-8234-4E8C-97C2-97E6A34C0F7E}" sibTransId="{5F25383C-01F6-4F39-9973-089200EE8839}"/>
    <dgm:cxn modelId="{4036E00F-ECA2-48FE-BE13-FDD14BD3911E}" type="presOf" srcId="{4C76FE96-1217-404F-B10F-6F1AD69F3E15}" destId="{385610EB-2BF0-44FD-899C-EF02548BDAD5}" srcOrd="0" destOrd="0" presId="urn:microsoft.com/office/officeart/2005/8/layout/process5"/>
    <dgm:cxn modelId="{BB5C0C13-7ADD-4BD6-B0E9-726A626E4ADA}" type="presOf" srcId="{F2E6840D-7ED8-4C5A-9AEB-2F6FBBE8CA11}" destId="{B2231D0F-C5ED-4815-A7C2-F06C46A71089}" srcOrd="0" destOrd="0" presId="urn:microsoft.com/office/officeart/2005/8/layout/process5"/>
    <dgm:cxn modelId="{76DB0E1A-19DF-4920-B230-4BF7A7948E35}" type="presOf" srcId="{AF19D87F-4E94-4C6D-A555-FACBBA7BCB32}" destId="{B6E79F4B-84E7-4D04-B28D-385E7264E693}" srcOrd="0" destOrd="0" presId="urn:microsoft.com/office/officeart/2005/8/layout/process5"/>
    <dgm:cxn modelId="{050E3438-DAB4-4809-9BB3-136E0FFA91E8}" srcId="{720A5267-E76A-4544-9ABC-5C9F38804B3C}" destId="{AF19D87F-4E94-4C6D-A555-FACBBA7BCB32}" srcOrd="5" destOrd="0" parTransId="{97CE5E91-43F7-4933-BA0B-1A3752D38974}" sibTransId="{D6852311-019F-4B2D-9D39-AAE5E691F478}"/>
    <dgm:cxn modelId="{F3C08C3C-630B-427A-96CA-D74BD9097D0A}" type="presOf" srcId="{A622F8AE-4B9C-4181-BA03-C847E9AC8A1E}" destId="{325E0A8B-546E-4A7F-A9E8-5144FB591E68}" srcOrd="1" destOrd="0" presId="urn:microsoft.com/office/officeart/2005/8/layout/process5"/>
    <dgm:cxn modelId="{AE2D4E49-41E9-4F6F-8D2F-695F973D59FA}" type="presOf" srcId="{720A5267-E76A-4544-9ABC-5C9F38804B3C}" destId="{0AA0C3E5-BAE5-4119-9C46-65991AC719E6}" srcOrd="0" destOrd="0" presId="urn:microsoft.com/office/officeart/2005/8/layout/process5"/>
    <dgm:cxn modelId="{6FBE9051-20DA-49B9-BB37-D18AA7C40571}" srcId="{720A5267-E76A-4544-9ABC-5C9F38804B3C}" destId="{185B4538-5A90-4A35-83AC-8524B6F7B8CE}" srcOrd="0" destOrd="0" parTransId="{01EC843A-38E7-4282-B5B7-3A59AF5DF0AD}" sibTransId="{6D63B32F-E42C-4C57-82F3-DBD2EDFB3FEE}"/>
    <dgm:cxn modelId="{30F4B774-0A8D-4866-B3B2-4B2E3A2A4EF0}" type="presOf" srcId="{A622F8AE-4B9C-4181-BA03-C847E9AC8A1E}" destId="{898BA90D-4167-4631-9667-58E18EF45696}" srcOrd="0" destOrd="0" presId="urn:microsoft.com/office/officeart/2005/8/layout/process5"/>
    <dgm:cxn modelId="{A40F3159-BCAC-43F4-9AA7-DA964DFBBB74}" type="presOf" srcId="{5F25383C-01F6-4F39-9973-089200EE8839}" destId="{DE5F5156-77B5-4F9F-8176-4EA5C2710D5F}" srcOrd="0" destOrd="0" presId="urn:microsoft.com/office/officeart/2005/8/layout/process5"/>
    <dgm:cxn modelId="{85B37C7B-6726-4CC3-A649-215A7CA0A008}" srcId="{720A5267-E76A-4544-9ABC-5C9F38804B3C}" destId="{F7BA17D7-BF62-498B-BFF9-AD63717905D8}" srcOrd="4" destOrd="0" parTransId="{055ABC71-26BB-4717-81BC-C45C91344ABF}" sibTransId="{F2E6840D-7ED8-4C5A-9AEB-2F6FBBE8CA11}"/>
    <dgm:cxn modelId="{ED38E081-56C3-474E-BFF3-EF62D6A3FB8C}" type="presOf" srcId="{ECFB8064-F408-4804-BBD9-C2F0ACA5E92D}" destId="{FA8F3A1D-CDBE-414D-BA9B-EA59A896E807}" srcOrd="0" destOrd="0" presId="urn:microsoft.com/office/officeart/2005/8/layout/process5"/>
    <dgm:cxn modelId="{BEF3CE86-EDE6-4937-AE10-2BA718DAB272}" type="presOf" srcId="{1F11B17E-FB12-41F0-9DBF-224949D3C1FE}" destId="{21C2198D-A19E-4598-8080-E110D52CA372}" srcOrd="0" destOrd="0" presId="urn:microsoft.com/office/officeart/2005/8/layout/process5"/>
    <dgm:cxn modelId="{7ECC5EA1-3AEC-4508-A60F-B0C88C025585}" type="presOf" srcId="{ECFB8064-F408-4804-BBD9-C2F0ACA5E92D}" destId="{96910876-0598-4094-AE30-115745782057}" srcOrd="1" destOrd="0" presId="urn:microsoft.com/office/officeart/2005/8/layout/process5"/>
    <dgm:cxn modelId="{055777A3-FB15-4EB0-A50D-26862AAF032C}" type="presOf" srcId="{5F25383C-01F6-4F39-9973-089200EE8839}" destId="{157DB3FE-AFE9-42EE-B68D-CF09B94BAE0E}" srcOrd="1" destOrd="0" presId="urn:microsoft.com/office/officeart/2005/8/layout/process5"/>
    <dgm:cxn modelId="{3DE82AA6-2606-4A1F-BF0F-228D05C0FFC1}" type="presOf" srcId="{39BF3378-46A5-47AE-8AD5-BA5D6823965B}" destId="{10858A17-348F-4A40-818F-51A1CBFB6BEA}" srcOrd="0" destOrd="0" presId="urn:microsoft.com/office/officeart/2005/8/layout/process5"/>
    <dgm:cxn modelId="{467DB2B6-BB71-41A6-8649-5A0F2AC4B48E}" type="presOf" srcId="{F7BA17D7-BF62-498B-BFF9-AD63717905D8}" destId="{684F2171-691A-4114-AB4C-87C6EDBA84C1}" srcOrd="0" destOrd="0" presId="urn:microsoft.com/office/officeart/2005/8/layout/process5"/>
    <dgm:cxn modelId="{6ECBD3C0-BF32-4C21-9F0D-4598141A86F1}" type="presOf" srcId="{F2E6840D-7ED8-4C5A-9AEB-2F6FBBE8CA11}" destId="{443FAFCD-0A04-4B05-BF4D-98938D04B320}" srcOrd="1" destOrd="0" presId="urn:microsoft.com/office/officeart/2005/8/layout/process5"/>
    <dgm:cxn modelId="{62F0F7C7-6AF6-4820-B67A-4782B979A8B4}" type="presOf" srcId="{6D63B32F-E42C-4C57-82F3-DBD2EDFB3FEE}" destId="{768B737B-FAB7-400C-A80C-C524C450AADF}" srcOrd="1" destOrd="0" presId="urn:microsoft.com/office/officeart/2005/8/layout/process5"/>
    <dgm:cxn modelId="{0C110ECC-1F64-4E34-BA1A-06B79EC8760D}" type="presOf" srcId="{185B4538-5A90-4A35-83AC-8524B6F7B8CE}" destId="{D4217278-E818-4615-B5F5-A606A3A48DAE}" srcOrd="0" destOrd="0" presId="urn:microsoft.com/office/officeart/2005/8/layout/process5"/>
    <dgm:cxn modelId="{4E55BAD0-AE2D-4741-9232-DF97ACA59DA0}" type="presOf" srcId="{6D63B32F-E42C-4C57-82F3-DBD2EDFB3FEE}" destId="{B045A628-C138-44B7-BA67-C6EF2C675381}" srcOrd="0" destOrd="0" presId="urn:microsoft.com/office/officeart/2005/8/layout/process5"/>
    <dgm:cxn modelId="{108D74EB-4A30-4E76-A254-0129212BD93A}" srcId="{720A5267-E76A-4544-9ABC-5C9F38804B3C}" destId="{4C76FE96-1217-404F-B10F-6F1AD69F3E15}" srcOrd="2" destOrd="0" parTransId="{7487B99A-5780-4FED-9818-95D997AADDA9}" sibTransId="{A622F8AE-4B9C-4181-BA03-C847E9AC8A1E}"/>
    <dgm:cxn modelId="{FCAB26FA-D92A-4DA2-9C21-26E18680965A}" srcId="{720A5267-E76A-4544-9ABC-5C9F38804B3C}" destId="{39BF3378-46A5-47AE-8AD5-BA5D6823965B}" srcOrd="3" destOrd="0" parTransId="{D5598659-0B4A-46DB-8D12-661E8EA4C432}" sibTransId="{ECFB8064-F408-4804-BBD9-C2F0ACA5E92D}"/>
    <dgm:cxn modelId="{5AF0EAB7-322B-4DC8-8B41-6944F211D9DD}" type="presParOf" srcId="{0AA0C3E5-BAE5-4119-9C46-65991AC719E6}" destId="{D4217278-E818-4615-B5F5-A606A3A48DAE}" srcOrd="0" destOrd="0" presId="urn:microsoft.com/office/officeart/2005/8/layout/process5"/>
    <dgm:cxn modelId="{6107E22D-0838-492A-BB07-A76BD72FE5E4}" type="presParOf" srcId="{0AA0C3E5-BAE5-4119-9C46-65991AC719E6}" destId="{B045A628-C138-44B7-BA67-C6EF2C675381}" srcOrd="1" destOrd="0" presId="urn:microsoft.com/office/officeart/2005/8/layout/process5"/>
    <dgm:cxn modelId="{CD36135F-5A09-4BC4-BB69-3613BFEA06D4}" type="presParOf" srcId="{B045A628-C138-44B7-BA67-C6EF2C675381}" destId="{768B737B-FAB7-400C-A80C-C524C450AADF}" srcOrd="0" destOrd="0" presId="urn:microsoft.com/office/officeart/2005/8/layout/process5"/>
    <dgm:cxn modelId="{C0122AF4-2763-47D0-9062-38FA513AEC18}" type="presParOf" srcId="{0AA0C3E5-BAE5-4119-9C46-65991AC719E6}" destId="{21C2198D-A19E-4598-8080-E110D52CA372}" srcOrd="2" destOrd="0" presId="urn:microsoft.com/office/officeart/2005/8/layout/process5"/>
    <dgm:cxn modelId="{44903C67-4BD8-4E18-A153-33D66208364C}" type="presParOf" srcId="{0AA0C3E5-BAE5-4119-9C46-65991AC719E6}" destId="{DE5F5156-77B5-4F9F-8176-4EA5C2710D5F}" srcOrd="3" destOrd="0" presId="urn:microsoft.com/office/officeart/2005/8/layout/process5"/>
    <dgm:cxn modelId="{07D168EC-A989-42A0-B24D-1DF4068B3267}" type="presParOf" srcId="{DE5F5156-77B5-4F9F-8176-4EA5C2710D5F}" destId="{157DB3FE-AFE9-42EE-B68D-CF09B94BAE0E}" srcOrd="0" destOrd="0" presId="urn:microsoft.com/office/officeart/2005/8/layout/process5"/>
    <dgm:cxn modelId="{C76950B9-A291-4D4A-A6C1-6171638C15D0}" type="presParOf" srcId="{0AA0C3E5-BAE5-4119-9C46-65991AC719E6}" destId="{385610EB-2BF0-44FD-899C-EF02548BDAD5}" srcOrd="4" destOrd="0" presId="urn:microsoft.com/office/officeart/2005/8/layout/process5"/>
    <dgm:cxn modelId="{D41CA1A2-EA38-4D8F-98CC-FF697A5E32E7}" type="presParOf" srcId="{0AA0C3E5-BAE5-4119-9C46-65991AC719E6}" destId="{898BA90D-4167-4631-9667-58E18EF45696}" srcOrd="5" destOrd="0" presId="urn:microsoft.com/office/officeart/2005/8/layout/process5"/>
    <dgm:cxn modelId="{DF6A2764-8918-4D62-9525-0235BD7D07FC}" type="presParOf" srcId="{898BA90D-4167-4631-9667-58E18EF45696}" destId="{325E0A8B-546E-4A7F-A9E8-5144FB591E68}" srcOrd="0" destOrd="0" presId="urn:microsoft.com/office/officeart/2005/8/layout/process5"/>
    <dgm:cxn modelId="{3B59C658-D7DA-4FBE-A311-46F45F8B9906}" type="presParOf" srcId="{0AA0C3E5-BAE5-4119-9C46-65991AC719E6}" destId="{10858A17-348F-4A40-818F-51A1CBFB6BEA}" srcOrd="6" destOrd="0" presId="urn:microsoft.com/office/officeart/2005/8/layout/process5"/>
    <dgm:cxn modelId="{CC11FCF5-9438-4FE8-8F8B-24CF4E08A41D}" type="presParOf" srcId="{0AA0C3E5-BAE5-4119-9C46-65991AC719E6}" destId="{FA8F3A1D-CDBE-414D-BA9B-EA59A896E807}" srcOrd="7" destOrd="0" presId="urn:microsoft.com/office/officeart/2005/8/layout/process5"/>
    <dgm:cxn modelId="{03BB1E14-78D5-4C8D-847D-14C0DF4AEA17}" type="presParOf" srcId="{FA8F3A1D-CDBE-414D-BA9B-EA59A896E807}" destId="{96910876-0598-4094-AE30-115745782057}" srcOrd="0" destOrd="0" presId="urn:microsoft.com/office/officeart/2005/8/layout/process5"/>
    <dgm:cxn modelId="{8E6E5054-7783-489C-82B6-8223669667EA}" type="presParOf" srcId="{0AA0C3E5-BAE5-4119-9C46-65991AC719E6}" destId="{684F2171-691A-4114-AB4C-87C6EDBA84C1}" srcOrd="8" destOrd="0" presId="urn:microsoft.com/office/officeart/2005/8/layout/process5"/>
    <dgm:cxn modelId="{E39F29A0-56FA-453F-8A6A-4BE056AB6827}" type="presParOf" srcId="{0AA0C3E5-BAE5-4119-9C46-65991AC719E6}" destId="{B2231D0F-C5ED-4815-A7C2-F06C46A71089}" srcOrd="9" destOrd="0" presId="urn:microsoft.com/office/officeart/2005/8/layout/process5"/>
    <dgm:cxn modelId="{F2B34ADF-7215-4B94-89E4-CFC4D029079D}" type="presParOf" srcId="{B2231D0F-C5ED-4815-A7C2-F06C46A71089}" destId="{443FAFCD-0A04-4B05-BF4D-98938D04B320}" srcOrd="0" destOrd="0" presId="urn:microsoft.com/office/officeart/2005/8/layout/process5"/>
    <dgm:cxn modelId="{7E89D469-6CDA-4525-A850-62688AEB6510}" type="presParOf" srcId="{0AA0C3E5-BAE5-4119-9C46-65991AC719E6}" destId="{B6E79F4B-84E7-4D04-B28D-385E7264E693}" srcOrd="10" destOrd="0" presId="urn:microsoft.com/office/officeart/2005/8/layout/process5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00A1BB9-8B85-4AA5-AC8B-31A17C310BC9}" type="doc">
      <dgm:prSet loTypeId="urn:microsoft.com/office/officeart/2005/8/layout/cycle2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fr-FR"/>
        </a:p>
      </dgm:t>
    </dgm:pt>
    <dgm:pt modelId="{78967360-5A96-4332-B0EA-2D6D954DF172}">
      <dgm:prSet phldrT="[Text]" custT="1"/>
      <dgm:spPr/>
      <dgm:t>
        <a:bodyPr/>
        <a:lstStyle/>
        <a:p>
          <a:r>
            <a:rPr lang="fr-FR" sz="1800" b="1" dirty="0"/>
            <a:t>Focus on </a:t>
          </a:r>
          <a:r>
            <a:rPr lang="fr-FR" sz="1800" b="1" dirty="0" err="1"/>
            <a:t>formal</a:t>
          </a:r>
          <a:r>
            <a:rPr lang="fr-FR" sz="1800" b="1" dirty="0"/>
            <a:t> aspects</a:t>
          </a:r>
        </a:p>
      </dgm:t>
    </dgm:pt>
    <dgm:pt modelId="{D0CB03BD-11EB-4A82-9327-8314939635CD}" type="parTrans" cxnId="{878B40CB-CFE1-4089-AC2F-169C9DB2892A}">
      <dgm:prSet/>
      <dgm:spPr/>
      <dgm:t>
        <a:bodyPr/>
        <a:lstStyle/>
        <a:p>
          <a:endParaRPr lang="fr-FR"/>
        </a:p>
      </dgm:t>
    </dgm:pt>
    <dgm:pt modelId="{CD40C3F2-84C8-45A8-BE65-84A406A68A82}" type="sibTrans" cxnId="{878B40CB-CFE1-4089-AC2F-169C9DB2892A}">
      <dgm:prSet/>
      <dgm:spPr/>
      <dgm:t>
        <a:bodyPr/>
        <a:lstStyle/>
        <a:p>
          <a:endParaRPr lang="fr-FR"/>
        </a:p>
      </dgm:t>
    </dgm:pt>
    <dgm:pt modelId="{CBB46424-7A64-4C44-B796-E6173811E689}">
      <dgm:prSet phldrT="[Text]" custT="1"/>
      <dgm:spPr/>
      <dgm:t>
        <a:bodyPr/>
        <a:lstStyle/>
        <a:p>
          <a:r>
            <a:rPr lang="en-GB" sz="1800" b="1" dirty="0"/>
            <a:t>Heavy </a:t>
          </a:r>
          <a:r>
            <a:rPr lang="en-GB" sz="1800" b="1" i="1" dirty="0"/>
            <a:t>ex ante </a:t>
          </a:r>
          <a:r>
            <a:rPr lang="en-GB" sz="1800" b="1" i="0" dirty="0"/>
            <a:t>checks</a:t>
          </a:r>
          <a:endParaRPr lang="fr-FR" sz="1800" b="1" dirty="0"/>
        </a:p>
      </dgm:t>
    </dgm:pt>
    <dgm:pt modelId="{4C0918B6-1293-445E-A84D-3DD475B0A779}" type="parTrans" cxnId="{4378BC15-38FE-4BD0-81CD-505B409C097F}">
      <dgm:prSet/>
      <dgm:spPr/>
      <dgm:t>
        <a:bodyPr/>
        <a:lstStyle/>
        <a:p>
          <a:endParaRPr lang="fr-FR"/>
        </a:p>
      </dgm:t>
    </dgm:pt>
    <dgm:pt modelId="{1606370F-16BF-4E9B-81BC-1F6F434F939F}" type="sibTrans" cxnId="{4378BC15-38FE-4BD0-81CD-505B409C097F}">
      <dgm:prSet/>
      <dgm:spPr/>
      <dgm:t>
        <a:bodyPr/>
        <a:lstStyle/>
        <a:p>
          <a:endParaRPr lang="fr-FR"/>
        </a:p>
      </dgm:t>
    </dgm:pt>
    <dgm:pt modelId="{AC3C3966-95B4-4EF8-AACA-B1880A81AD6A}">
      <dgm:prSet phldrT="[Text]" custT="1"/>
      <dgm:spPr/>
      <dgm:t>
        <a:bodyPr/>
        <a:lstStyle/>
        <a:p>
          <a:r>
            <a:rPr lang="en-GB" sz="1800" b="1" dirty="0"/>
            <a:t>Supervision mostly of formal processes</a:t>
          </a:r>
          <a:endParaRPr lang="fr-FR" sz="1800" b="1" dirty="0"/>
        </a:p>
      </dgm:t>
    </dgm:pt>
    <dgm:pt modelId="{3AB1A6FE-9476-4372-A65D-10AFAA8ACE02}" type="parTrans" cxnId="{E2AF9A1A-8896-44C3-BDB9-AF6D91AF9313}">
      <dgm:prSet/>
      <dgm:spPr/>
      <dgm:t>
        <a:bodyPr/>
        <a:lstStyle/>
        <a:p>
          <a:endParaRPr lang="fr-FR"/>
        </a:p>
      </dgm:t>
    </dgm:pt>
    <dgm:pt modelId="{49EDE74B-A524-4271-B923-29DB4B87AB14}" type="sibTrans" cxnId="{E2AF9A1A-8896-44C3-BDB9-AF6D91AF9313}">
      <dgm:prSet/>
      <dgm:spPr/>
      <dgm:t>
        <a:bodyPr/>
        <a:lstStyle/>
        <a:p>
          <a:endParaRPr lang="fr-FR"/>
        </a:p>
      </dgm:t>
    </dgm:pt>
    <dgm:pt modelId="{20966DB6-4B33-498B-95D3-9B9938984790}">
      <dgm:prSet phldrT="[Text]" custT="1"/>
      <dgm:spPr/>
      <dgm:t>
        <a:bodyPr/>
        <a:lstStyle/>
        <a:p>
          <a:r>
            <a:rPr lang="en-GB" sz="1800" b="1" dirty="0"/>
            <a:t>No time / resources / methods for “reality checks”</a:t>
          </a:r>
          <a:endParaRPr lang="fr-FR" sz="1800" b="1" dirty="0"/>
        </a:p>
      </dgm:t>
    </dgm:pt>
    <dgm:pt modelId="{0C72F542-D709-497A-8AA6-35DFD6A9652E}" type="parTrans" cxnId="{17F07927-E62B-4E65-8313-99F608917140}">
      <dgm:prSet/>
      <dgm:spPr/>
      <dgm:t>
        <a:bodyPr/>
        <a:lstStyle/>
        <a:p>
          <a:endParaRPr lang="fr-FR"/>
        </a:p>
      </dgm:t>
    </dgm:pt>
    <dgm:pt modelId="{E5166AFE-FB4C-48A4-BE7B-338420919004}" type="sibTrans" cxnId="{17F07927-E62B-4E65-8313-99F608917140}">
      <dgm:prSet/>
      <dgm:spPr/>
      <dgm:t>
        <a:bodyPr/>
        <a:lstStyle/>
        <a:p>
          <a:endParaRPr lang="fr-FR"/>
        </a:p>
      </dgm:t>
    </dgm:pt>
    <dgm:pt modelId="{D9D47AD9-250A-4479-9EF6-BD130630F7D9}">
      <dgm:prSet phldrT="[Text]" custT="1"/>
      <dgm:spPr/>
      <dgm:t>
        <a:bodyPr/>
        <a:lstStyle/>
        <a:p>
          <a:r>
            <a:rPr lang="en-GB" sz="1800" b="1" dirty="0"/>
            <a:t>Bad practices and harm can fester unchecked</a:t>
          </a:r>
          <a:endParaRPr lang="fr-FR" sz="1800" b="1" dirty="0"/>
        </a:p>
      </dgm:t>
    </dgm:pt>
    <dgm:pt modelId="{597497DD-C4BF-416E-9497-EA2E15C4E627}" type="parTrans" cxnId="{6211C530-01EE-465E-BDD4-6121CA702510}">
      <dgm:prSet/>
      <dgm:spPr/>
      <dgm:t>
        <a:bodyPr/>
        <a:lstStyle/>
        <a:p>
          <a:endParaRPr lang="fr-FR"/>
        </a:p>
      </dgm:t>
    </dgm:pt>
    <dgm:pt modelId="{BB8DC7A2-E9BF-4C52-BD97-A9A0B5185B94}" type="sibTrans" cxnId="{6211C530-01EE-465E-BDD4-6121CA702510}">
      <dgm:prSet/>
      <dgm:spPr>
        <a:pattFill prst="trellis">
          <a:fgClr>
            <a:schemeClr val="accent2">
              <a:hueOff val="-1455363"/>
              <a:satOff val="-83928"/>
              <a:lumOff val="8628"/>
            </a:schemeClr>
          </a:fgClr>
          <a:bgClr>
            <a:schemeClr val="bg1"/>
          </a:bgClr>
        </a:pattFill>
      </dgm:spPr>
      <dgm:t>
        <a:bodyPr/>
        <a:lstStyle/>
        <a:p>
          <a:endParaRPr lang="fr-FR"/>
        </a:p>
      </dgm:t>
    </dgm:pt>
    <dgm:pt modelId="{E23999E5-CBFE-4057-AF4B-77BFA4040587}" type="pres">
      <dgm:prSet presAssocID="{400A1BB9-8B85-4AA5-AC8B-31A17C310BC9}" presName="cycle" presStyleCnt="0">
        <dgm:presLayoutVars>
          <dgm:dir/>
          <dgm:resizeHandles val="exact"/>
        </dgm:presLayoutVars>
      </dgm:prSet>
      <dgm:spPr/>
    </dgm:pt>
    <dgm:pt modelId="{F05F55CD-60CB-47E7-B4C1-7B46EB6BD9B9}" type="pres">
      <dgm:prSet presAssocID="{78967360-5A96-4332-B0EA-2D6D954DF172}" presName="node" presStyleLbl="node1" presStyleIdx="0" presStyleCnt="5">
        <dgm:presLayoutVars>
          <dgm:bulletEnabled val="1"/>
        </dgm:presLayoutVars>
      </dgm:prSet>
      <dgm:spPr/>
    </dgm:pt>
    <dgm:pt modelId="{4A38C41D-E678-46C3-8A4C-9111E629551C}" type="pres">
      <dgm:prSet presAssocID="{CD40C3F2-84C8-45A8-BE65-84A406A68A82}" presName="sibTrans" presStyleLbl="sibTrans2D1" presStyleIdx="0" presStyleCnt="5"/>
      <dgm:spPr/>
    </dgm:pt>
    <dgm:pt modelId="{ADF0F70F-E941-493F-9663-6191EE1FA89F}" type="pres">
      <dgm:prSet presAssocID="{CD40C3F2-84C8-45A8-BE65-84A406A68A82}" presName="connectorText" presStyleLbl="sibTrans2D1" presStyleIdx="0" presStyleCnt="5"/>
      <dgm:spPr/>
    </dgm:pt>
    <dgm:pt modelId="{A998B91F-7654-4EA3-BCB8-A2E56B90CEC9}" type="pres">
      <dgm:prSet presAssocID="{CBB46424-7A64-4C44-B796-E6173811E689}" presName="node" presStyleLbl="node1" presStyleIdx="1" presStyleCnt="5">
        <dgm:presLayoutVars>
          <dgm:bulletEnabled val="1"/>
        </dgm:presLayoutVars>
      </dgm:prSet>
      <dgm:spPr/>
    </dgm:pt>
    <dgm:pt modelId="{0C5AC0F4-9B77-456F-9CD9-139516E48B23}" type="pres">
      <dgm:prSet presAssocID="{1606370F-16BF-4E9B-81BC-1F6F434F939F}" presName="sibTrans" presStyleLbl="sibTrans2D1" presStyleIdx="1" presStyleCnt="5"/>
      <dgm:spPr/>
    </dgm:pt>
    <dgm:pt modelId="{A47B48E4-E592-4E5D-BB1E-9671A1D9528D}" type="pres">
      <dgm:prSet presAssocID="{1606370F-16BF-4E9B-81BC-1F6F434F939F}" presName="connectorText" presStyleLbl="sibTrans2D1" presStyleIdx="1" presStyleCnt="5"/>
      <dgm:spPr/>
    </dgm:pt>
    <dgm:pt modelId="{016F70F6-13B5-4D99-8300-E4C8BECE9970}" type="pres">
      <dgm:prSet presAssocID="{AC3C3966-95B4-4EF8-AACA-B1880A81AD6A}" presName="node" presStyleLbl="node1" presStyleIdx="2" presStyleCnt="5">
        <dgm:presLayoutVars>
          <dgm:bulletEnabled val="1"/>
        </dgm:presLayoutVars>
      </dgm:prSet>
      <dgm:spPr/>
    </dgm:pt>
    <dgm:pt modelId="{78A12A7F-3B55-4E29-8E29-3D7C7A632A61}" type="pres">
      <dgm:prSet presAssocID="{49EDE74B-A524-4271-B923-29DB4B87AB14}" presName="sibTrans" presStyleLbl="sibTrans2D1" presStyleIdx="2" presStyleCnt="5"/>
      <dgm:spPr/>
    </dgm:pt>
    <dgm:pt modelId="{97BFB64F-2630-4FA4-BE17-7A4B9F52E7B2}" type="pres">
      <dgm:prSet presAssocID="{49EDE74B-A524-4271-B923-29DB4B87AB14}" presName="connectorText" presStyleLbl="sibTrans2D1" presStyleIdx="2" presStyleCnt="5"/>
      <dgm:spPr/>
    </dgm:pt>
    <dgm:pt modelId="{4DC18845-C1D3-4BA5-8195-3308DAE10466}" type="pres">
      <dgm:prSet presAssocID="{20966DB6-4B33-498B-95D3-9B9938984790}" presName="node" presStyleLbl="node1" presStyleIdx="3" presStyleCnt="5">
        <dgm:presLayoutVars>
          <dgm:bulletEnabled val="1"/>
        </dgm:presLayoutVars>
      </dgm:prSet>
      <dgm:spPr/>
    </dgm:pt>
    <dgm:pt modelId="{1D957033-228E-4B07-A322-B84A886D04B9}" type="pres">
      <dgm:prSet presAssocID="{E5166AFE-FB4C-48A4-BE7B-338420919004}" presName="sibTrans" presStyleLbl="sibTrans2D1" presStyleIdx="3" presStyleCnt="5"/>
      <dgm:spPr/>
    </dgm:pt>
    <dgm:pt modelId="{117E96E8-D3BF-43B6-B484-A11C1FF04A0B}" type="pres">
      <dgm:prSet presAssocID="{E5166AFE-FB4C-48A4-BE7B-338420919004}" presName="connectorText" presStyleLbl="sibTrans2D1" presStyleIdx="3" presStyleCnt="5"/>
      <dgm:spPr/>
    </dgm:pt>
    <dgm:pt modelId="{7032F33D-8424-4703-96AC-B6173E4B31AF}" type="pres">
      <dgm:prSet presAssocID="{D9D47AD9-250A-4479-9EF6-BD130630F7D9}" presName="node" presStyleLbl="node1" presStyleIdx="4" presStyleCnt="5">
        <dgm:presLayoutVars>
          <dgm:bulletEnabled val="1"/>
        </dgm:presLayoutVars>
      </dgm:prSet>
      <dgm:spPr/>
    </dgm:pt>
    <dgm:pt modelId="{E5E0DA0E-9959-4386-AF05-60B335F16C4F}" type="pres">
      <dgm:prSet presAssocID="{BB8DC7A2-E9BF-4C52-BD97-A9A0B5185B94}" presName="sibTrans" presStyleLbl="sibTrans2D1" presStyleIdx="4" presStyleCnt="5" custAng="15425131" custLinFactX="-200000" custLinFactNeighborX="-266802" custLinFactNeighborY="-8337"/>
      <dgm:spPr/>
    </dgm:pt>
    <dgm:pt modelId="{ABD74263-FB1E-419B-AF9B-36C393FA745C}" type="pres">
      <dgm:prSet presAssocID="{BB8DC7A2-E9BF-4C52-BD97-A9A0B5185B94}" presName="connectorText" presStyleLbl="sibTrans2D1" presStyleIdx="4" presStyleCnt="5"/>
      <dgm:spPr/>
    </dgm:pt>
  </dgm:ptLst>
  <dgm:cxnLst>
    <dgm:cxn modelId="{54CF5312-9093-4F21-B9EB-54C58973266B}" type="presOf" srcId="{BB8DC7A2-E9BF-4C52-BD97-A9A0B5185B94}" destId="{E5E0DA0E-9959-4386-AF05-60B335F16C4F}" srcOrd="0" destOrd="0" presId="urn:microsoft.com/office/officeart/2005/8/layout/cycle2"/>
    <dgm:cxn modelId="{4378BC15-38FE-4BD0-81CD-505B409C097F}" srcId="{400A1BB9-8B85-4AA5-AC8B-31A17C310BC9}" destId="{CBB46424-7A64-4C44-B796-E6173811E689}" srcOrd="1" destOrd="0" parTransId="{4C0918B6-1293-445E-A84D-3DD475B0A779}" sibTransId="{1606370F-16BF-4E9B-81BC-1F6F434F939F}"/>
    <dgm:cxn modelId="{B9EB6F16-2534-47BF-80EA-318CA131995C}" type="presOf" srcId="{49EDE74B-A524-4271-B923-29DB4B87AB14}" destId="{97BFB64F-2630-4FA4-BE17-7A4B9F52E7B2}" srcOrd="1" destOrd="0" presId="urn:microsoft.com/office/officeart/2005/8/layout/cycle2"/>
    <dgm:cxn modelId="{E2AF9A1A-8896-44C3-BDB9-AF6D91AF9313}" srcId="{400A1BB9-8B85-4AA5-AC8B-31A17C310BC9}" destId="{AC3C3966-95B4-4EF8-AACA-B1880A81AD6A}" srcOrd="2" destOrd="0" parTransId="{3AB1A6FE-9476-4372-A65D-10AFAA8ACE02}" sibTransId="{49EDE74B-A524-4271-B923-29DB4B87AB14}"/>
    <dgm:cxn modelId="{F6F7C220-477D-466C-851A-4BB09154BEBB}" type="presOf" srcId="{E5166AFE-FB4C-48A4-BE7B-338420919004}" destId="{1D957033-228E-4B07-A322-B84A886D04B9}" srcOrd="0" destOrd="0" presId="urn:microsoft.com/office/officeart/2005/8/layout/cycle2"/>
    <dgm:cxn modelId="{17F07927-E62B-4E65-8313-99F608917140}" srcId="{400A1BB9-8B85-4AA5-AC8B-31A17C310BC9}" destId="{20966DB6-4B33-498B-95D3-9B9938984790}" srcOrd="3" destOrd="0" parTransId="{0C72F542-D709-497A-8AA6-35DFD6A9652E}" sibTransId="{E5166AFE-FB4C-48A4-BE7B-338420919004}"/>
    <dgm:cxn modelId="{89983528-9309-4FF4-BEBC-1128DD2DEB87}" type="presOf" srcId="{AC3C3966-95B4-4EF8-AACA-B1880A81AD6A}" destId="{016F70F6-13B5-4D99-8300-E4C8BECE9970}" srcOrd="0" destOrd="0" presId="urn:microsoft.com/office/officeart/2005/8/layout/cycle2"/>
    <dgm:cxn modelId="{7F80C728-727F-4C2D-A76B-C471B985D097}" type="presOf" srcId="{CD40C3F2-84C8-45A8-BE65-84A406A68A82}" destId="{ADF0F70F-E941-493F-9663-6191EE1FA89F}" srcOrd="1" destOrd="0" presId="urn:microsoft.com/office/officeart/2005/8/layout/cycle2"/>
    <dgm:cxn modelId="{6211C530-01EE-465E-BDD4-6121CA702510}" srcId="{400A1BB9-8B85-4AA5-AC8B-31A17C310BC9}" destId="{D9D47AD9-250A-4479-9EF6-BD130630F7D9}" srcOrd="4" destOrd="0" parTransId="{597497DD-C4BF-416E-9497-EA2E15C4E627}" sibTransId="{BB8DC7A2-E9BF-4C52-BD97-A9A0B5185B94}"/>
    <dgm:cxn modelId="{0BB13C31-7260-4E67-9B88-18CA58BD81A4}" type="presOf" srcId="{E5166AFE-FB4C-48A4-BE7B-338420919004}" destId="{117E96E8-D3BF-43B6-B484-A11C1FF04A0B}" srcOrd="1" destOrd="0" presId="urn:microsoft.com/office/officeart/2005/8/layout/cycle2"/>
    <dgm:cxn modelId="{8A130A63-AE26-4830-989A-EACAD78561F0}" type="presOf" srcId="{CBB46424-7A64-4C44-B796-E6173811E689}" destId="{A998B91F-7654-4EA3-BCB8-A2E56B90CEC9}" srcOrd="0" destOrd="0" presId="urn:microsoft.com/office/officeart/2005/8/layout/cycle2"/>
    <dgm:cxn modelId="{565E7545-5877-403F-ACEF-B8D93C50990A}" type="presOf" srcId="{CD40C3F2-84C8-45A8-BE65-84A406A68A82}" destId="{4A38C41D-E678-46C3-8A4C-9111E629551C}" srcOrd="0" destOrd="0" presId="urn:microsoft.com/office/officeart/2005/8/layout/cycle2"/>
    <dgm:cxn modelId="{6D90384A-9267-4405-8CE4-B3F1288E37F4}" type="presOf" srcId="{400A1BB9-8B85-4AA5-AC8B-31A17C310BC9}" destId="{E23999E5-CBFE-4057-AF4B-77BFA4040587}" srcOrd="0" destOrd="0" presId="urn:microsoft.com/office/officeart/2005/8/layout/cycle2"/>
    <dgm:cxn modelId="{AF9B166C-CC2D-4357-8277-2CB47D9F7C4C}" type="presOf" srcId="{20966DB6-4B33-498B-95D3-9B9938984790}" destId="{4DC18845-C1D3-4BA5-8195-3308DAE10466}" srcOrd="0" destOrd="0" presId="urn:microsoft.com/office/officeart/2005/8/layout/cycle2"/>
    <dgm:cxn modelId="{966CE270-ECA5-454F-96AD-FC896352340F}" type="presOf" srcId="{D9D47AD9-250A-4479-9EF6-BD130630F7D9}" destId="{7032F33D-8424-4703-96AC-B6173E4B31AF}" srcOrd="0" destOrd="0" presId="urn:microsoft.com/office/officeart/2005/8/layout/cycle2"/>
    <dgm:cxn modelId="{44C13C58-3EEB-4F05-81E4-A5EEED7D487A}" type="presOf" srcId="{1606370F-16BF-4E9B-81BC-1F6F434F939F}" destId="{0C5AC0F4-9B77-456F-9CD9-139516E48B23}" srcOrd="0" destOrd="0" presId="urn:microsoft.com/office/officeart/2005/8/layout/cycle2"/>
    <dgm:cxn modelId="{A6CCD87F-362D-40A0-844A-33E3ED2F95FA}" type="presOf" srcId="{BB8DC7A2-E9BF-4C52-BD97-A9A0B5185B94}" destId="{ABD74263-FB1E-419B-AF9B-36C393FA745C}" srcOrd="1" destOrd="0" presId="urn:microsoft.com/office/officeart/2005/8/layout/cycle2"/>
    <dgm:cxn modelId="{CCE50C89-37C2-4B8A-8AFA-DB12AC232B05}" type="presOf" srcId="{49EDE74B-A524-4271-B923-29DB4B87AB14}" destId="{78A12A7F-3B55-4E29-8E29-3D7C7A632A61}" srcOrd="0" destOrd="0" presId="urn:microsoft.com/office/officeart/2005/8/layout/cycle2"/>
    <dgm:cxn modelId="{FCB6F99D-9160-4B60-B3ED-A5C41B4E78D1}" type="presOf" srcId="{1606370F-16BF-4E9B-81BC-1F6F434F939F}" destId="{A47B48E4-E592-4E5D-BB1E-9671A1D9528D}" srcOrd="1" destOrd="0" presId="urn:microsoft.com/office/officeart/2005/8/layout/cycle2"/>
    <dgm:cxn modelId="{02B756C2-EC69-4544-A965-0E8E2A31A9D3}" type="presOf" srcId="{78967360-5A96-4332-B0EA-2D6D954DF172}" destId="{F05F55CD-60CB-47E7-B4C1-7B46EB6BD9B9}" srcOrd="0" destOrd="0" presId="urn:microsoft.com/office/officeart/2005/8/layout/cycle2"/>
    <dgm:cxn modelId="{878B40CB-CFE1-4089-AC2F-169C9DB2892A}" srcId="{400A1BB9-8B85-4AA5-AC8B-31A17C310BC9}" destId="{78967360-5A96-4332-B0EA-2D6D954DF172}" srcOrd="0" destOrd="0" parTransId="{D0CB03BD-11EB-4A82-9327-8314939635CD}" sibTransId="{CD40C3F2-84C8-45A8-BE65-84A406A68A82}"/>
    <dgm:cxn modelId="{474B68B7-5890-4A7C-9508-0EB0060A9715}" type="presParOf" srcId="{E23999E5-CBFE-4057-AF4B-77BFA4040587}" destId="{F05F55CD-60CB-47E7-B4C1-7B46EB6BD9B9}" srcOrd="0" destOrd="0" presId="urn:microsoft.com/office/officeart/2005/8/layout/cycle2"/>
    <dgm:cxn modelId="{2D2438C6-08B6-40FD-9DB6-0BEDA84485E5}" type="presParOf" srcId="{E23999E5-CBFE-4057-AF4B-77BFA4040587}" destId="{4A38C41D-E678-46C3-8A4C-9111E629551C}" srcOrd="1" destOrd="0" presId="urn:microsoft.com/office/officeart/2005/8/layout/cycle2"/>
    <dgm:cxn modelId="{442E1D25-5365-4EA7-B0EC-5EBF1DB8F6E4}" type="presParOf" srcId="{4A38C41D-E678-46C3-8A4C-9111E629551C}" destId="{ADF0F70F-E941-493F-9663-6191EE1FA89F}" srcOrd="0" destOrd="0" presId="urn:microsoft.com/office/officeart/2005/8/layout/cycle2"/>
    <dgm:cxn modelId="{289CB6E1-2D71-4297-BF6C-5922D28B2CDD}" type="presParOf" srcId="{E23999E5-CBFE-4057-AF4B-77BFA4040587}" destId="{A998B91F-7654-4EA3-BCB8-A2E56B90CEC9}" srcOrd="2" destOrd="0" presId="urn:microsoft.com/office/officeart/2005/8/layout/cycle2"/>
    <dgm:cxn modelId="{F5DA5195-5C95-487C-AF6E-4133721FCE85}" type="presParOf" srcId="{E23999E5-CBFE-4057-AF4B-77BFA4040587}" destId="{0C5AC0F4-9B77-456F-9CD9-139516E48B23}" srcOrd="3" destOrd="0" presId="urn:microsoft.com/office/officeart/2005/8/layout/cycle2"/>
    <dgm:cxn modelId="{7B764AC0-F227-47A4-A83B-2BDAC16CBB17}" type="presParOf" srcId="{0C5AC0F4-9B77-456F-9CD9-139516E48B23}" destId="{A47B48E4-E592-4E5D-BB1E-9671A1D9528D}" srcOrd="0" destOrd="0" presId="urn:microsoft.com/office/officeart/2005/8/layout/cycle2"/>
    <dgm:cxn modelId="{C1C75997-F944-481C-8738-80DB5282D24A}" type="presParOf" srcId="{E23999E5-CBFE-4057-AF4B-77BFA4040587}" destId="{016F70F6-13B5-4D99-8300-E4C8BECE9970}" srcOrd="4" destOrd="0" presId="urn:microsoft.com/office/officeart/2005/8/layout/cycle2"/>
    <dgm:cxn modelId="{AA89C8E4-373A-489B-9CA5-C143F9C2C947}" type="presParOf" srcId="{E23999E5-CBFE-4057-AF4B-77BFA4040587}" destId="{78A12A7F-3B55-4E29-8E29-3D7C7A632A61}" srcOrd="5" destOrd="0" presId="urn:microsoft.com/office/officeart/2005/8/layout/cycle2"/>
    <dgm:cxn modelId="{613FB1F2-F68D-4627-A2E3-CDF1717E6B13}" type="presParOf" srcId="{78A12A7F-3B55-4E29-8E29-3D7C7A632A61}" destId="{97BFB64F-2630-4FA4-BE17-7A4B9F52E7B2}" srcOrd="0" destOrd="0" presId="urn:microsoft.com/office/officeart/2005/8/layout/cycle2"/>
    <dgm:cxn modelId="{36F2FBC5-FE46-4D4A-BE7D-6188AB9195DA}" type="presParOf" srcId="{E23999E5-CBFE-4057-AF4B-77BFA4040587}" destId="{4DC18845-C1D3-4BA5-8195-3308DAE10466}" srcOrd="6" destOrd="0" presId="urn:microsoft.com/office/officeart/2005/8/layout/cycle2"/>
    <dgm:cxn modelId="{EBAA1E12-6CD3-443F-8472-1CA129F75096}" type="presParOf" srcId="{E23999E5-CBFE-4057-AF4B-77BFA4040587}" destId="{1D957033-228E-4B07-A322-B84A886D04B9}" srcOrd="7" destOrd="0" presId="urn:microsoft.com/office/officeart/2005/8/layout/cycle2"/>
    <dgm:cxn modelId="{86361AC2-2BB2-468E-8B5E-A51851F76B98}" type="presParOf" srcId="{1D957033-228E-4B07-A322-B84A886D04B9}" destId="{117E96E8-D3BF-43B6-B484-A11C1FF04A0B}" srcOrd="0" destOrd="0" presId="urn:microsoft.com/office/officeart/2005/8/layout/cycle2"/>
    <dgm:cxn modelId="{D0F69213-D63E-4C6A-AE5A-1288124B6F68}" type="presParOf" srcId="{E23999E5-CBFE-4057-AF4B-77BFA4040587}" destId="{7032F33D-8424-4703-96AC-B6173E4B31AF}" srcOrd="8" destOrd="0" presId="urn:microsoft.com/office/officeart/2005/8/layout/cycle2"/>
    <dgm:cxn modelId="{A64614CD-AE52-4BFB-BA48-63BA5584DE5D}" type="presParOf" srcId="{E23999E5-CBFE-4057-AF4B-77BFA4040587}" destId="{E5E0DA0E-9959-4386-AF05-60B335F16C4F}" srcOrd="9" destOrd="0" presId="urn:microsoft.com/office/officeart/2005/8/layout/cycle2"/>
    <dgm:cxn modelId="{BF02F2BF-8D7C-4179-8A61-7221E073BEAB}" type="presParOf" srcId="{E5E0DA0E-9959-4386-AF05-60B335F16C4F}" destId="{ABD74263-FB1E-419B-AF9B-36C393FA745C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6EE3D78-DDD8-4E1D-ABF5-0915988C122B}" type="doc">
      <dgm:prSet loTypeId="urn:microsoft.com/office/officeart/2005/8/layout/cycle2" loCatId="cycle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53EAA52F-9CCD-497B-9350-B8CCAADE5D7C}">
      <dgm:prSet phldrT="[Text]" custT="1"/>
      <dgm:spPr/>
      <dgm:t>
        <a:bodyPr/>
        <a:lstStyle/>
        <a:p>
          <a:r>
            <a:rPr lang="en-GB" sz="1400" b="1" dirty="0">
              <a:latin typeface="Arial" panose="020B0604020202020204" pitchFamily="34" charset="0"/>
              <a:cs typeface="Arial" panose="020B0604020202020204" pitchFamily="34" charset="0"/>
            </a:rPr>
            <a:t>Comprehensive data on duty holders</a:t>
          </a:r>
          <a:endParaRPr lang="fr-FR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0CC4F23-7990-4061-A8CF-AD2BA3D3F380}" type="parTrans" cxnId="{2DD63EBA-2F50-456E-84B9-F8E4DBA17DA5}">
      <dgm:prSet/>
      <dgm:spPr/>
      <dgm:t>
        <a:bodyPr/>
        <a:lstStyle/>
        <a:p>
          <a:endParaRPr lang="fr-FR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183378-590F-4611-A116-388B6D722E57}" type="sibTrans" cxnId="{2DD63EBA-2F50-456E-84B9-F8E4DBA17DA5}">
      <dgm:prSet custT="1"/>
      <dgm:spPr/>
      <dgm:t>
        <a:bodyPr/>
        <a:lstStyle/>
        <a:p>
          <a:endParaRPr lang="fr-FR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E232AB-ADBB-4FFE-9626-D649C127C583}">
      <dgm:prSet phldrT="[Text]" custT="1"/>
      <dgm:spPr/>
      <dgm:t>
        <a:bodyPr/>
        <a:lstStyle/>
        <a:p>
          <a:r>
            <a:rPr lang="en-GB" sz="1400" b="1" dirty="0">
              <a:latin typeface="Arial" panose="020B0604020202020204" pitchFamily="34" charset="0"/>
              <a:cs typeface="Arial" panose="020B0604020202020204" pitchFamily="34" charset="0"/>
            </a:rPr>
            <a:t>Risk-Based Planning (activity x track record = risk level)</a:t>
          </a:r>
          <a:endParaRPr lang="fr-FR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F28031-7B08-428B-8AF4-5B8CF6A5609E}" type="parTrans" cxnId="{7C31CFDA-7B4D-48B4-956C-056A6859FA0C}">
      <dgm:prSet/>
      <dgm:spPr/>
      <dgm:t>
        <a:bodyPr/>
        <a:lstStyle/>
        <a:p>
          <a:endParaRPr lang="fr-FR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8C0368-8036-41BD-9B8E-31BB17010E7A}" type="sibTrans" cxnId="{7C31CFDA-7B4D-48B4-956C-056A6859FA0C}">
      <dgm:prSet custT="1"/>
      <dgm:spPr/>
      <dgm:t>
        <a:bodyPr/>
        <a:lstStyle/>
        <a:p>
          <a:endParaRPr lang="fr-FR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596E86-6A25-424F-A41B-B10060584E3E}">
      <dgm:prSet phldrT="[Text]" custT="1"/>
      <dgm:spPr/>
      <dgm:t>
        <a:bodyPr/>
        <a:lstStyle/>
        <a:p>
          <a:r>
            <a:rPr lang="en-GB" sz="1400" b="1" dirty="0">
              <a:latin typeface="Arial" panose="020B0604020202020204" pitchFamily="34" charset="0"/>
              <a:cs typeface="Arial" panose="020B0604020202020204" pitchFamily="34" charset="0"/>
            </a:rPr>
            <a:t>Risk-Based Inspection (focus on practices and critical risk points)</a:t>
          </a:r>
          <a:endParaRPr lang="fr-FR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885A26-82FE-4B97-8111-34D00AA0DA36}" type="parTrans" cxnId="{A92AA155-A603-48C7-980D-53FB89475723}">
      <dgm:prSet/>
      <dgm:spPr/>
      <dgm:t>
        <a:bodyPr/>
        <a:lstStyle/>
        <a:p>
          <a:endParaRPr lang="fr-FR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3C3FDB-309E-4D7C-80D9-871E607E5B09}" type="sibTrans" cxnId="{A92AA155-A603-48C7-980D-53FB89475723}">
      <dgm:prSet custT="1"/>
      <dgm:spPr/>
      <dgm:t>
        <a:bodyPr/>
        <a:lstStyle/>
        <a:p>
          <a:endParaRPr lang="fr-FR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AA57DC-95A3-4E28-AEDE-62DB0567CD30}">
      <dgm:prSet phldrT="[Text]" custT="1"/>
      <dgm:spPr/>
      <dgm:t>
        <a:bodyPr/>
        <a:lstStyle/>
        <a:p>
          <a:r>
            <a:rPr lang="en-GB" sz="1400" b="1" dirty="0">
              <a:latin typeface="Arial" panose="020B0604020202020204" pitchFamily="34" charset="0"/>
              <a:cs typeface="Arial" panose="020B0604020202020204" pitchFamily="34" charset="0"/>
            </a:rPr>
            <a:t>Updated Risk Levels</a:t>
          </a:r>
          <a:endParaRPr lang="fr-FR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1DB01D-8DD7-4D74-87B6-BA3893F560AF}" type="parTrans" cxnId="{3390F7D8-BDCA-4489-9B86-B8B8321F8CD2}">
      <dgm:prSet/>
      <dgm:spPr/>
      <dgm:t>
        <a:bodyPr/>
        <a:lstStyle/>
        <a:p>
          <a:endParaRPr lang="fr-FR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B85169-7C3B-4593-B2A8-86EB9CEF8C6C}" type="sibTrans" cxnId="{3390F7D8-BDCA-4489-9B86-B8B8321F8CD2}">
      <dgm:prSet custT="1"/>
      <dgm:spPr/>
      <dgm:t>
        <a:bodyPr/>
        <a:lstStyle/>
        <a:p>
          <a:endParaRPr lang="fr-FR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23F675-E794-404D-AEEE-9CBB76A3A66E}">
      <dgm:prSet phldrT="[Text]" custT="1"/>
      <dgm:spPr/>
      <dgm:t>
        <a:bodyPr/>
        <a:lstStyle/>
        <a:p>
          <a:r>
            <a:rPr lang="en-GB" sz="1400" b="1" dirty="0">
              <a:latin typeface="Arial" panose="020B0604020202020204" pitchFamily="34" charset="0"/>
              <a:cs typeface="Arial" panose="020B0604020202020204" pitchFamily="34" charset="0"/>
            </a:rPr>
            <a:t>Regular Updates on Existing and New Duty Holders </a:t>
          </a:r>
          <a:endParaRPr lang="fr-FR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49B393-CF9E-40CD-8490-D0FE1010BE52}" type="parTrans" cxnId="{2DE97C04-537F-4C51-B1D9-2ED945753E0F}">
      <dgm:prSet/>
      <dgm:spPr/>
      <dgm:t>
        <a:bodyPr/>
        <a:lstStyle/>
        <a:p>
          <a:endParaRPr lang="fr-FR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DC996A-0DD7-4E57-A988-F90150A55200}" type="sibTrans" cxnId="{2DE97C04-537F-4C51-B1D9-2ED945753E0F}">
      <dgm:prSet custT="1"/>
      <dgm:spPr/>
      <dgm:t>
        <a:bodyPr/>
        <a:lstStyle/>
        <a:p>
          <a:endParaRPr lang="fr-FR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AF0424D-B526-4910-89BD-D07581D31255}" type="pres">
      <dgm:prSet presAssocID="{76EE3D78-DDD8-4E1D-ABF5-0915988C122B}" presName="cycle" presStyleCnt="0">
        <dgm:presLayoutVars>
          <dgm:dir/>
          <dgm:resizeHandles val="exact"/>
        </dgm:presLayoutVars>
      </dgm:prSet>
      <dgm:spPr/>
    </dgm:pt>
    <dgm:pt modelId="{82972E96-BBA7-40C4-8D2E-D161EFDBBD18}" type="pres">
      <dgm:prSet presAssocID="{53EAA52F-9CCD-497B-9350-B8CCAADE5D7C}" presName="node" presStyleLbl="node1" presStyleIdx="0" presStyleCnt="5" custScaleX="122728" custScaleY="121849">
        <dgm:presLayoutVars>
          <dgm:bulletEnabled val="1"/>
        </dgm:presLayoutVars>
      </dgm:prSet>
      <dgm:spPr/>
    </dgm:pt>
    <dgm:pt modelId="{2256F0BE-F0BD-4D3B-A0A8-8417769492A1}" type="pres">
      <dgm:prSet presAssocID="{84183378-590F-4611-A116-388B6D722E57}" presName="sibTrans" presStyleLbl="sibTrans2D1" presStyleIdx="0" presStyleCnt="5"/>
      <dgm:spPr/>
    </dgm:pt>
    <dgm:pt modelId="{8E5BCC7C-8034-4038-B54D-DEA71D300EF3}" type="pres">
      <dgm:prSet presAssocID="{84183378-590F-4611-A116-388B6D722E57}" presName="connectorText" presStyleLbl="sibTrans2D1" presStyleIdx="0" presStyleCnt="5"/>
      <dgm:spPr/>
    </dgm:pt>
    <dgm:pt modelId="{22DA32BA-D1C8-4B40-9530-9240327EC651}" type="pres">
      <dgm:prSet presAssocID="{95E232AB-ADBB-4FFE-9626-D649C127C583}" presName="node" presStyleLbl="node1" presStyleIdx="1" presStyleCnt="5" custScaleX="115763" custScaleY="112432">
        <dgm:presLayoutVars>
          <dgm:bulletEnabled val="1"/>
        </dgm:presLayoutVars>
      </dgm:prSet>
      <dgm:spPr/>
    </dgm:pt>
    <dgm:pt modelId="{E2A4FB85-B6E5-4584-A4F9-59DCFFD111A3}" type="pres">
      <dgm:prSet presAssocID="{F28C0368-8036-41BD-9B8E-31BB17010E7A}" presName="sibTrans" presStyleLbl="sibTrans2D1" presStyleIdx="1" presStyleCnt="5"/>
      <dgm:spPr/>
    </dgm:pt>
    <dgm:pt modelId="{7C3B27C8-C278-4D2D-A74C-CEA4C012FEEC}" type="pres">
      <dgm:prSet presAssocID="{F28C0368-8036-41BD-9B8E-31BB17010E7A}" presName="connectorText" presStyleLbl="sibTrans2D1" presStyleIdx="1" presStyleCnt="5"/>
      <dgm:spPr/>
    </dgm:pt>
    <dgm:pt modelId="{F298A5CD-2D77-4A67-A232-C67B3E834404}" type="pres">
      <dgm:prSet presAssocID="{84596E86-6A25-424F-A41B-B10060584E3E}" presName="node" presStyleLbl="node1" presStyleIdx="2" presStyleCnt="5" custScaleX="115763" custScaleY="112432">
        <dgm:presLayoutVars>
          <dgm:bulletEnabled val="1"/>
        </dgm:presLayoutVars>
      </dgm:prSet>
      <dgm:spPr/>
    </dgm:pt>
    <dgm:pt modelId="{93D1E807-8936-4B2B-A82B-8BE73021AEF8}" type="pres">
      <dgm:prSet presAssocID="{4F3C3FDB-309E-4D7C-80D9-871E607E5B09}" presName="sibTrans" presStyleLbl="sibTrans2D1" presStyleIdx="2" presStyleCnt="5"/>
      <dgm:spPr/>
    </dgm:pt>
    <dgm:pt modelId="{082ED899-CCD4-4DC3-8D32-23DF868556BD}" type="pres">
      <dgm:prSet presAssocID="{4F3C3FDB-309E-4D7C-80D9-871E607E5B09}" presName="connectorText" presStyleLbl="sibTrans2D1" presStyleIdx="2" presStyleCnt="5"/>
      <dgm:spPr/>
    </dgm:pt>
    <dgm:pt modelId="{92607375-EDC5-4281-B60B-29FA6B087E7D}" type="pres">
      <dgm:prSet presAssocID="{F6AA57DC-95A3-4E28-AEDE-62DB0567CD30}" presName="node" presStyleLbl="node1" presStyleIdx="3" presStyleCnt="5" custScaleX="115763" custScaleY="112432">
        <dgm:presLayoutVars>
          <dgm:bulletEnabled val="1"/>
        </dgm:presLayoutVars>
      </dgm:prSet>
      <dgm:spPr/>
    </dgm:pt>
    <dgm:pt modelId="{E27A64C2-75AE-41E9-93BC-1FC7508F35AF}" type="pres">
      <dgm:prSet presAssocID="{5EB85169-7C3B-4593-B2A8-86EB9CEF8C6C}" presName="sibTrans" presStyleLbl="sibTrans2D1" presStyleIdx="3" presStyleCnt="5"/>
      <dgm:spPr/>
    </dgm:pt>
    <dgm:pt modelId="{051D85A8-892C-4675-B0EA-69A89B7B94F8}" type="pres">
      <dgm:prSet presAssocID="{5EB85169-7C3B-4593-B2A8-86EB9CEF8C6C}" presName="connectorText" presStyleLbl="sibTrans2D1" presStyleIdx="3" presStyleCnt="5"/>
      <dgm:spPr/>
    </dgm:pt>
    <dgm:pt modelId="{CA21388B-CACE-4874-9062-598F8FFFD724}" type="pres">
      <dgm:prSet presAssocID="{8F23F675-E794-404D-AEEE-9CBB76A3A66E}" presName="node" presStyleLbl="node1" presStyleIdx="4" presStyleCnt="5" custScaleX="115763" custScaleY="112432">
        <dgm:presLayoutVars>
          <dgm:bulletEnabled val="1"/>
        </dgm:presLayoutVars>
      </dgm:prSet>
      <dgm:spPr/>
    </dgm:pt>
    <dgm:pt modelId="{8DC2B4F3-F555-432B-A66E-F6D562291CC0}" type="pres">
      <dgm:prSet presAssocID="{5ADC996A-0DD7-4E57-A988-F90150A55200}" presName="sibTrans" presStyleLbl="sibTrans2D1" presStyleIdx="4" presStyleCnt="5"/>
      <dgm:spPr/>
    </dgm:pt>
    <dgm:pt modelId="{0F5B8454-F6F4-4E66-9EF2-0A1A6323FFCA}" type="pres">
      <dgm:prSet presAssocID="{5ADC996A-0DD7-4E57-A988-F90150A55200}" presName="connectorText" presStyleLbl="sibTrans2D1" presStyleIdx="4" presStyleCnt="5"/>
      <dgm:spPr/>
    </dgm:pt>
  </dgm:ptLst>
  <dgm:cxnLst>
    <dgm:cxn modelId="{792E8D01-7076-45BB-AB51-AE0F27739844}" type="presOf" srcId="{F28C0368-8036-41BD-9B8E-31BB17010E7A}" destId="{7C3B27C8-C278-4D2D-A74C-CEA4C012FEEC}" srcOrd="1" destOrd="0" presId="urn:microsoft.com/office/officeart/2005/8/layout/cycle2"/>
    <dgm:cxn modelId="{2DE97C04-537F-4C51-B1D9-2ED945753E0F}" srcId="{76EE3D78-DDD8-4E1D-ABF5-0915988C122B}" destId="{8F23F675-E794-404D-AEEE-9CBB76A3A66E}" srcOrd="4" destOrd="0" parTransId="{5949B393-CF9E-40CD-8490-D0FE1010BE52}" sibTransId="{5ADC996A-0DD7-4E57-A988-F90150A55200}"/>
    <dgm:cxn modelId="{41891D05-1B69-45EC-950C-C7BC7B9B53FB}" type="presOf" srcId="{5ADC996A-0DD7-4E57-A988-F90150A55200}" destId="{8DC2B4F3-F555-432B-A66E-F6D562291CC0}" srcOrd="0" destOrd="0" presId="urn:microsoft.com/office/officeart/2005/8/layout/cycle2"/>
    <dgm:cxn modelId="{0E24C90F-2642-4809-8FDC-F7D5AD2B047C}" type="presOf" srcId="{84183378-590F-4611-A116-388B6D722E57}" destId="{2256F0BE-F0BD-4D3B-A0A8-8417769492A1}" srcOrd="0" destOrd="0" presId="urn:microsoft.com/office/officeart/2005/8/layout/cycle2"/>
    <dgm:cxn modelId="{55023F61-70D0-4FFC-B474-578E6DA3C5FE}" type="presOf" srcId="{5EB85169-7C3B-4593-B2A8-86EB9CEF8C6C}" destId="{051D85A8-892C-4675-B0EA-69A89B7B94F8}" srcOrd="1" destOrd="0" presId="urn:microsoft.com/office/officeart/2005/8/layout/cycle2"/>
    <dgm:cxn modelId="{FCEFDA72-B8D6-4509-9BBC-BB48F4F65EB5}" type="presOf" srcId="{76EE3D78-DDD8-4E1D-ABF5-0915988C122B}" destId="{CAF0424D-B526-4910-89BD-D07581D31255}" srcOrd="0" destOrd="0" presId="urn:microsoft.com/office/officeart/2005/8/layout/cycle2"/>
    <dgm:cxn modelId="{A4A41F74-4F4D-4124-B2B7-25462B677990}" type="presOf" srcId="{5ADC996A-0DD7-4E57-A988-F90150A55200}" destId="{0F5B8454-F6F4-4E66-9EF2-0A1A6323FFCA}" srcOrd="1" destOrd="0" presId="urn:microsoft.com/office/officeart/2005/8/layout/cycle2"/>
    <dgm:cxn modelId="{A92AA155-A603-48C7-980D-53FB89475723}" srcId="{76EE3D78-DDD8-4E1D-ABF5-0915988C122B}" destId="{84596E86-6A25-424F-A41B-B10060584E3E}" srcOrd="2" destOrd="0" parTransId="{7F885A26-82FE-4B97-8111-34D00AA0DA36}" sibTransId="{4F3C3FDB-309E-4D7C-80D9-871E607E5B09}"/>
    <dgm:cxn modelId="{53B7F259-B3BD-4006-93F8-73287000D8A7}" type="presOf" srcId="{F28C0368-8036-41BD-9B8E-31BB17010E7A}" destId="{E2A4FB85-B6E5-4584-A4F9-59DCFFD111A3}" srcOrd="0" destOrd="0" presId="urn:microsoft.com/office/officeart/2005/8/layout/cycle2"/>
    <dgm:cxn modelId="{315FC481-83CD-4942-B375-B1B065565397}" type="presOf" srcId="{84596E86-6A25-424F-A41B-B10060584E3E}" destId="{F298A5CD-2D77-4A67-A232-C67B3E834404}" srcOrd="0" destOrd="0" presId="urn:microsoft.com/office/officeart/2005/8/layout/cycle2"/>
    <dgm:cxn modelId="{4BE70F84-6807-4B84-AF16-1650DFBFE4E2}" type="presOf" srcId="{4F3C3FDB-309E-4D7C-80D9-871E607E5B09}" destId="{93D1E807-8936-4B2B-A82B-8BE73021AEF8}" srcOrd="0" destOrd="0" presId="urn:microsoft.com/office/officeart/2005/8/layout/cycle2"/>
    <dgm:cxn modelId="{8FE67E85-EFAA-47E0-BB39-87FFDBC3F58E}" type="presOf" srcId="{4F3C3FDB-309E-4D7C-80D9-871E607E5B09}" destId="{082ED899-CCD4-4DC3-8D32-23DF868556BD}" srcOrd="1" destOrd="0" presId="urn:microsoft.com/office/officeart/2005/8/layout/cycle2"/>
    <dgm:cxn modelId="{67268787-45C7-4820-BB31-81CB5FE6042C}" type="presOf" srcId="{53EAA52F-9CCD-497B-9350-B8CCAADE5D7C}" destId="{82972E96-BBA7-40C4-8D2E-D161EFDBBD18}" srcOrd="0" destOrd="0" presId="urn:microsoft.com/office/officeart/2005/8/layout/cycle2"/>
    <dgm:cxn modelId="{FB9A15A7-58B0-4953-84CF-C91CE353941E}" type="presOf" srcId="{F6AA57DC-95A3-4E28-AEDE-62DB0567CD30}" destId="{92607375-EDC5-4281-B60B-29FA6B087E7D}" srcOrd="0" destOrd="0" presId="urn:microsoft.com/office/officeart/2005/8/layout/cycle2"/>
    <dgm:cxn modelId="{2DD63EBA-2F50-456E-84B9-F8E4DBA17DA5}" srcId="{76EE3D78-DDD8-4E1D-ABF5-0915988C122B}" destId="{53EAA52F-9CCD-497B-9350-B8CCAADE5D7C}" srcOrd="0" destOrd="0" parTransId="{A0CC4F23-7990-4061-A8CF-AD2BA3D3F380}" sibTransId="{84183378-590F-4611-A116-388B6D722E57}"/>
    <dgm:cxn modelId="{F218F6BE-57A5-4445-8E94-DADA6074B426}" type="presOf" srcId="{5EB85169-7C3B-4593-B2A8-86EB9CEF8C6C}" destId="{E27A64C2-75AE-41E9-93BC-1FC7508F35AF}" srcOrd="0" destOrd="0" presId="urn:microsoft.com/office/officeart/2005/8/layout/cycle2"/>
    <dgm:cxn modelId="{3390F7D8-BDCA-4489-9B86-B8B8321F8CD2}" srcId="{76EE3D78-DDD8-4E1D-ABF5-0915988C122B}" destId="{F6AA57DC-95A3-4E28-AEDE-62DB0567CD30}" srcOrd="3" destOrd="0" parTransId="{1C1DB01D-8DD7-4D74-87B6-BA3893F560AF}" sibTransId="{5EB85169-7C3B-4593-B2A8-86EB9CEF8C6C}"/>
    <dgm:cxn modelId="{7C31CFDA-7B4D-48B4-956C-056A6859FA0C}" srcId="{76EE3D78-DDD8-4E1D-ABF5-0915988C122B}" destId="{95E232AB-ADBB-4FFE-9626-D649C127C583}" srcOrd="1" destOrd="0" parTransId="{A5F28031-7B08-428B-8AF4-5B8CF6A5609E}" sibTransId="{F28C0368-8036-41BD-9B8E-31BB17010E7A}"/>
    <dgm:cxn modelId="{08B80CEC-DC88-4C0D-95DE-FB567FC32324}" type="presOf" srcId="{95E232AB-ADBB-4FFE-9626-D649C127C583}" destId="{22DA32BA-D1C8-4B40-9530-9240327EC651}" srcOrd="0" destOrd="0" presId="urn:microsoft.com/office/officeart/2005/8/layout/cycle2"/>
    <dgm:cxn modelId="{F9078EF5-F027-4680-8800-8112599C5D89}" type="presOf" srcId="{8F23F675-E794-404D-AEEE-9CBB76A3A66E}" destId="{CA21388B-CACE-4874-9062-598F8FFFD724}" srcOrd="0" destOrd="0" presId="urn:microsoft.com/office/officeart/2005/8/layout/cycle2"/>
    <dgm:cxn modelId="{2CF8DDFE-AE70-4BA8-B37A-7C856E9506CB}" type="presOf" srcId="{84183378-590F-4611-A116-388B6D722E57}" destId="{8E5BCC7C-8034-4038-B54D-DEA71D300EF3}" srcOrd="1" destOrd="0" presId="urn:microsoft.com/office/officeart/2005/8/layout/cycle2"/>
    <dgm:cxn modelId="{C13FF35A-4212-430F-8BB3-86658C32CC9A}" type="presParOf" srcId="{CAF0424D-B526-4910-89BD-D07581D31255}" destId="{82972E96-BBA7-40C4-8D2E-D161EFDBBD18}" srcOrd="0" destOrd="0" presId="urn:microsoft.com/office/officeart/2005/8/layout/cycle2"/>
    <dgm:cxn modelId="{5A00C445-40E7-4382-ABE2-37D056DC7D41}" type="presParOf" srcId="{CAF0424D-B526-4910-89BD-D07581D31255}" destId="{2256F0BE-F0BD-4D3B-A0A8-8417769492A1}" srcOrd="1" destOrd="0" presId="urn:microsoft.com/office/officeart/2005/8/layout/cycle2"/>
    <dgm:cxn modelId="{927F9EA5-B743-497E-BCF9-7E208342C7C9}" type="presParOf" srcId="{2256F0BE-F0BD-4D3B-A0A8-8417769492A1}" destId="{8E5BCC7C-8034-4038-B54D-DEA71D300EF3}" srcOrd="0" destOrd="0" presId="urn:microsoft.com/office/officeart/2005/8/layout/cycle2"/>
    <dgm:cxn modelId="{3C3BD5EB-CE3F-49EA-99C9-94CA88DDF397}" type="presParOf" srcId="{CAF0424D-B526-4910-89BD-D07581D31255}" destId="{22DA32BA-D1C8-4B40-9530-9240327EC651}" srcOrd="2" destOrd="0" presId="urn:microsoft.com/office/officeart/2005/8/layout/cycle2"/>
    <dgm:cxn modelId="{FFF07E84-0966-41F1-B899-0AD184C51A65}" type="presParOf" srcId="{CAF0424D-B526-4910-89BD-D07581D31255}" destId="{E2A4FB85-B6E5-4584-A4F9-59DCFFD111A3}" srcOrd="3" destOrd="0" presId="urn:microsoft.com/office/officeart/2005/8/layout/cycle2"/>
    <dgm:cxn modelId="{D739A38A-5324-483E-BD4F-C3F331E770A0}" type="presParOf" srcId="{E2A4FB85-B6E5-4584-A4F9-59DCFFD111A3}" destId="{7C3B27C8-C278-4D2D-A74C-CEA4C012FEEC}" srcOrd="0" destOrd="0" presId="urn:microsoft.com/office/officeart/2005/8/layout/cycle2"/>
    <dgm:cxn modelId="{FC5A8B08-6D3F-4102-84AB-061B8004FC52}" type="presParOf" srcId="{CAF0424D-B526-4910-89BD-D07581D31255}" destId="{F298A5CD-2D77-4A67-A232-C67B3E834404}" srcOrd="4" destOrd="0" presId="urn:microsoft.com/office/officeart/2005/8/layout/cycle2"/>
    <dgm:cxn modelId="{AF067404-7828-4A23-8926-C8487F6CCF78}" type="presParOf" srcId="{CAF0424D-B526-4910-89BD-D07581D31255}" destId="{93D1E807-8936-4B2B-A82B-8BE73021AEF8}" srcOrd="5" destOrd="0" presId="urn:microsoft.com/office/officeart/2005/8/layout/cycle2"/>
    <dgm:cxn modelId="{73D9A9D8-AFA8-42F7-AE8D-2EECB1D9F889}" type="presParOf" srcId="{93D1E807-8936-4B2B-A82B-8BE73021AEF8}" destId="{082ED899-CCD4-4DC3-8D32-23DF868556BD}" srcOrd="0" destOrd="0" presId="urn:microsoft.com/office/officeart/2005/8/layout/cycle2"/>
    <dgm:cxn modelId="{451FD26E-900A-4A1A-B41A-A9573744AE0B}" type="presParOf" srcId="{CAF0424D-B526-4910-89BD-D07581D31255}" destId="{92607375-EDC5-4281-B60B-29FA6B087E7D}" srcOrd="6" destOrd="0" presId="urn:microsoft.com/office/officeart/2005/8/layout/cycle2"/>
    <dgm:cxn modelId="{A2B93E1E-9F35-4520-9D02-3D7F8C6D247B}" type="presParOf" srcId="{CAF0424D-B526-4910-89BD-D07581D31255}" destId="{E27A64C2-75AE-41E9-93BC-1FC7508F35AF}" srcOrd="7" destOrd="0" presId="urn:microsoft.com/office/officeart/2005/8/layout/cycle2"/>
    <dgm:cxn modelId="{928134F5-9889-49D9-89F3-43253F0EBA1C}" type="presParOf" srcId="{E27A64C2-75AE-41E9-93BC-1FC7508F35AF}" destId="{051D85A8-892C-4675-B0EA-69A89B7B94F8}" srcOrd="0" destOrd="0" presId="urn:microsoft.com/office/officeart/2005/8/layout/cycle2"/>
    <dgm:cxn modelId="{8F665AF1-AA50-45E9-8352-DD4958739762}" type="presParOf" srcId="{CAF0424D-B526-4910-89BD-D07581D31255}" destId="{CA21388B-CACE-4874-9062-598F8FFFD724}" srcOrd="8" destOrd="0" presId="urn:microsoft.com/office/officeart/2005/8/layout/cycle2"/>
    <dgm:cxn modelId="{76E7BBED-4C6D-4C6F-9577-434B83419E15}" type="presParOf" srcId="{CAF0424D-B526-4910-89BD-D07581D31255}" destId="{8DC2B4F3-F555-432B-A66E-F6D562291CC0}" srcOrd="9" destOrd="0" presId="urn:microsoft.com/office/officeart/2005/8/layout/cycle2"/>
    <dgm:cxn modelId="{3441DCF5-78F9-4747-A4E4-C3A74CCCB1E4}" type="presParOf" srcId="{8DC2B4F3-F555-432B-A66E-F6D562291CC0}" destId="{0F5B8454-F6F4-4E66-9EF2-0A1A6323FFCA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326BE53-4CE5-4D48-80D7-828ADBB915E9}" type="doc">
      <dgm:prSet loTypeId="urn:microsoft.com/office/officeart/2005/8/layout/hierarchy1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38B8D23A-BFA9-4818-B64F-A1A365F0C102}">
      <dgm:prSet phldrT="[Text]"/>
      <dgm:spPr/>
      <dgm:t>
        <a:bodyPr/>
        <a:lstStyle/>
        <a:p>
          <a:r>
            <a:rPr lang="en-GB" b="1" dirty="0"/>
            <a:t>Documented process</a:t>
          </a:r>
          <a:endParaRPr lang="fr-FR" b="1" dirty="0"/>
        </a:p>
      </dgm:t>
    </dgm:pt>
    <dgm:pt modelId="{38FBEB55-3A78-47E2-BA0A-A5713AC8E0BA}" type="parTrans" cxnId="{F9592808-7831-489A-86D6-F2E0B64C87CB}">
      <dgm:prSet/>
      <dgm:spPr/>
      <dgm:t>
        <a:bodyPr/>
        <a:lstStyle/>
        <a:p>
          <a:endParaRPr lang="fr-FR" b="1"/>
        </a:p>
      </dgm:t>
    </dgm:pt>
    <dgm:pt modelId="{B09D2E21-D3E0-4B5D-82FB-F832C65E7336}" type="sibTrans" cxnId="{F9592808-7831-489A-86D6-F2E0B64C87CB}">
      <dgm:prSet/>
      <dgm:spPr/>
      <dgm:t>
        <a:bodyPr/>
        <a:lstStyle/>
        <a:p>
          <a:endParaRPr lang="fr-FR" b="1"/>
        </a:p>
      </dgm:t>
    </dgm:pt>
    <dgm:pt modelId="{E35D0684-9F9B-44CD-8CA5-74B0741AC2DB}">
      <dgm:prSet phldrT="[Text]"/>
      <dgm:spPr/>
      <dgm:t>
        <a:bodyPr/>
        <a:lstStyle/>
        <a:p>
          <a:r>
            <a:rPr lang="en-GB" b="1"/>
            <a:t>Talk to patients, relatives</a:t>
          </a:r>
          <a:endParaRPr lang="fr-FR" b="1" dirty="0"/>
        </a:p>
      </dgm:t>
    </dgm:pt>
    <dgm:pt modelId="{DD4B941C-8D63-4748-8839-6BE547164171}" type="parTrans" cxnId="{C3996A6E-2F3B-4B5A-A761-BCE77F1EDCB2}">
      <dgm:prSet/>
      <dgm:spPr/>
      <dgm:t>
        <a:bodyPr/>
        <a:lstStyle/>
        <a:p>
          <a:endParaRPr lang="fr-FR" b="1"/>
        </a:p>
      </dgm:t>
    </dgm:pt>
    <dgm:pt modelId="{EE63E12E-D6E7-4B39-B26A-BEBE1DAF5DCC}" type="sibTrans" cxnId="{C3996A6E-2F3B-4B5A-A761-BCE77F1EDCB2}">
      <dgm:prSet/>
      <dgm:spPr/>
      <dgm:t>
        <a:bodyPr/>
        <a:lstStyle/>
        <a:p>
          <a:endParaRPr lang="fr-FR" b="1"/>
        </a:p>
      </dgm:t>
    </dgm:pt>
    <dgm:pt modelId="{BF890201-38E7-49E6-B6EA-EF3ECF243853}">
      <dgm:prSet phldrT="[Text]"/>
      <dgm:spPr/>
      <dgm:t>
        <a:bodyPr/>
        <a:lstStyle/>
        <a:p>
          <a:r>
            <a:rPr lang="en-GB" b="1" dirty="0"/>
            <a:t>Consistent with “official”?</a:t>
          </a:r>
          <a:endParaRPr lang="fr-FR" b="1" dirty="0"/>
        </a:p>
      </dgm:t>
    </dgm:pt>
    <dgm:pt modelId="{A03C7423-50AB-4825-92BB-5E236697A187}" type="parTrans" cxnId="{1DEC48D6-7B5C-4629-93E6-370EFCC71037}">
      <dgm:prSet/>
      <dgm:spPr/>
      <dgm:t>
        <a:bodyPr/>
        <a:lstStyle/>
        <a:p>
          <a:endParaRPr lang="fr-FR" b="1"/>
        </a:p>
      </dgm:t>
    </dgm:pt>
    <dgm:pt modelId="{9492DE17-34E5-4083-A04C-7A773316BA64}" type="sibTrans" cxnId="{1DEC48D6-7B5C-4629-93E6-370EFCC71037}">
      <dgm:prSet/>
      <dgm:spPr/>
      <dgm:t>
        <a:bodyPr/>
        <a:lstStyle/>
        <a:p>
          <a:endParaRPr lang="fr-FR" b="1"/>
        </a:p>
      </dgm:t>
    </dgm:pt>
    <dgm:pt modelId="{298EE0FC-93BB-444C-84CD-E7E6DF854895}">
      <dgm:prSet phldrT="[Text]"/>
      <dgm:spPr/>
      <dgm:t>
        <a:bodyPr/>
        <a:lstStyle/>
        <a:p>
          <a:r>
            <a:rPr lang="en-GB" b="1" dirty="0"/>
            <a:t>Alarm signs?</a:t>
          </a:r>
          <a:endParaRPr lang="fr-FR" b="1" dirty="0"/>
        </a:p>
      </dgm:t>
    </dgm:pt>
    <dgm:pt modelId="{80474A51-6052-4866-ACBB-5173E224FEAC}" type="parTrans" cxnId="{57C28FCA-4F93-4B10-91ED-57D541A99AAF}">
      <dgm:prSet/>
      <dgm:spPr/>
      <dgm:t>
        <a:bodyPr/>
        <a:lstStyle/>
        <a:p>
          <a:endParaRPr lang="fr-FR" b="1"/>
        </a:p>
      </dgm:t>
    </dgm:pt>
    <dgm:pt modelId="{E652F941-40F7-4AC0-BC64-DDDC0ED0F1FB}" type="sibTrans" cxnId="{57C28FCA-4F93-4B10-91ED-57D541A99AAF}">
      <dgm:prSet/>
      <dgm:spPr/>
      <dgm:t>
        <a:bodyPr/>
        <a:lstStyle/>
        <a:p>
          <a:endParaRPr lang="fr-FR" b="1"/>
        </a:p>
      </dgm:t>
    </dgm:pt>
    <dgm:pt modelId="{DD7ED352-4921-4017-B934-7A8503F87DAB}">
      <dgm:prSet phldrT="[Text]"/>
      <dgm:spPr/>
      <dgm:t>
        <a:bodyPr/>
        <a:lstStyle/>
        <a:p>
          <a:r>
            <a:rPr lang="en-GB" b="1" dirty="0"/>
            <a:t>Talk with workers</a:t>
          </a:r>
          <a:endParaRPr lang="fr-FR" b="1" dirty="0"/>
        </a:p>
      </dgm:t>
    </dgm:pt>
    <dgm:pt modelId="{FDF210C3-39B1-4483-A90A-97295206CFD4}" type="parTrans" cxnId="{A28D118F-C9B5-48C1-BF5B-485EBEE46709}">
      <dgm:prSet/>
      <dgm:spPr/>
      <dgm:t>
        <a:bodyPr/>
        <a:lstStyle/>
        <a:p>
          <a:endParaRPr lang="fr-FR" b="1"/>
        </a:p>
      </dgm:t>
    </dgm:pt>
    <dgm:pt modelId="{A785B81A-DD5D-4228-8820-49849DDEE086}" type="sibTrans" cxnId="{A28D118F-C9B5-48C1-BF5B-485EBEE46709}">
      <dgm:prSet/>
      <dgm:spPr/>
      <dgm:t>
        <a:bodyPr/>
        <a:lstStyle/>
        <a:p>
          <a:endParaRPr lang="fr-FR" b="1"/>
        </a:p>
      </dgm:t>
    </dgm:pt>
    <dgm:pt modelId="{8962FCA6-70D4-4010-B017-3B6203FC388B}">
      <dgm:prSet phldrT="[Text]"/>
      <dgm:spPr/>
      <dgm:t>
        <a:bodyPr/>
        <a:lstStyle/>
        <a:p>
          <a:r>
            <a:rPr lang="en-GB" b="1" dirty="0"/>
            <a:t>Consistent w procedure, and w each other</a:t>
          </a:r>
          <a:endParaRPr lang="fr-FR" b="1" dirty="0"/>
        </a:p>
      </dgm:t>
    </dgm:pt>
    <dgm:pt modelId="{A8EF669E-BC2D-421C-AE26-5BBEC5B0451A}" type="parTrans" cxnId="{3D5CE51E-EBF7-4295-9A39-8A90B6E24087}">
      <dgm:prSet/>
      <dgm:spPr/>
      <dgm:t>
        <a:bodyPr/>
        <a:lstStyle/>
        <a:p>
          <a:endParaRPr lang="fr-FR" b="1"/>
        </a:p>
      </dgm:t>
    </dgm:pt>
    <dgm:pt modelId="{BBFD3252-A68B-4F97-9658-F1D079BCAD72}" type="sibTrans" cxnId="{3D5CE51E-EBF7-4295-9A39-8A90B6E24087}">
      <dgm:prSet/>
      <dgm:spPr/>
      <dgm:t>
        <a:bodyPr/>
        <a:lstStyle/>
        <a:p>
          <a:endParaRPr lang="fr-FR" b="1"/>
        </a:p>
      </dgm:t>
    </dgm:pt>
    <dgm:pt modelId="{D3C1D449-C262-4A40-97B2-76C80261FD52}">
      <dgm:prSet phldrT="[Text]"/>
      <dgm:spPr/>
      <dgm:t>
        <a:bodyPr/>
        <a:lstStyle/>
        <a:p>
          <a:r>
            <a:rPr lang="en-GB" b="1" dirty="0"/>
            <a:t>Dissimulation / evasion?</a:t>
          </a:r>
          <a:endParaRPr lang="fr-FR" b="1" dirty="0"/>
        </a:p>
      </dgm:t>
    </dgm:pt>
    <dgm:pt modelId="{56D07770-02B0-49F7-ABB6-4E6FD5CDE85A}" type="parTrans" cxnId="{C1E6668C-D9E1-45D1-A44A-1242F69A07FC}">
      <dgm:prSet/>
      <dgm:spPr/>
      <dgm:t>
        <a:bodyPr/>
        <a:lstStyle/>
        <a:p>
          <a:endParaRPr lang="fr-FR" b="1"/>
        </a:p>
      </dgm:t>
    </dgm:pt>
    <dgm:pt modelId="{2041E67E-528A-4F40-A66C-ABA26E8540C5}" type="sibTrans" cxnId="{C1E6668C-D9E1-45D1-A44A-1242F69A07FC}">
      <dgm:prSet/>
      <dgm:spPr/>
      <dgm:t>
        <a:bodyPr/>
        <a:lstStyle/>
        <a:p>
          <a:endParaRPr lang="fr-FR" b="1"/>
        </a:p>
      </dgm:t>
    </dgm:pt>
    <dgm:pt modelId="{D138C50B-325E-4320-9889-EAC30324298F}">
      <dgm:prSet phldrT="[Text]"/>
      <dgm:spPr/>
      <dgm:t>
        <a:bodyPr/>
        <a:lstStyle/>
        <a:p>
          <a:r>
            <a:rPr lang="en-GB" b="1" dirty="0"/>
            <a:t>Competence?</a:t>
          </a:r>
          <a:endParaRPr lang="fr-FR" b="1" dirty="0"/>
        </a:p>
      </dgm:t>
    </dgm:pt>
    <dgm:pt modelId="{8A79CDA0-3330-4A4E-91C5-1D37BE97798D}" type="parTrans" cxnId="{904EF1DC-91CD-49C2-9F43-3809F4799991}">
      <dgm:prSet/>
      <dgm:spPr/>
      <dgm:t>
        <a:bodyPr/>
        <a:lstStyle/>
        <a:p>
          <a:endParaRPr lang="fr-FR" b="1"/>
        </a:p>
      </dgm:t>
    </dgm:pt>
    <dgm:pt modelId="{A1E04829-B47A-4B3B-B896-E958741EC323}" type="sibTrans" cxnId="{904EF1DC-91CD-49C2-9F43-3809F4799991}">
      <dgm:prSet/>
      <dgm:spPr/>
      <dgm:t>
        <a:bodyPr/>
        <a:lstStyle/>
        <a:p>
          <a:endParaRPr lang="fr-FR" b="1"/>
        </a:p>
      </dgm:t>
    </dgm:pt>
    <dgm:pt modelId="{D4EDDE00-6CC9-465D-A6F1-E3BA34DA7CF0}" type="pres">
      <dgm:prSet presAssocID="{3326BE53-4CE5-4D48-80D7-828ADBB915E9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25D2BAF5-6346-4D56-9870-CB2D92737DAB}" type="pres">
      <dgm:prSet presAssocID="{38B8D23A-BFA9-4818-B64F-A1A365F0C102}" presName="hierRoot1" presStyleCnt="0"/>
      <dgm:spPr/>
    </dgm:pt>
    <dgm:pt modelId="{CFE8EC25-E025-4C94-8CF8-B0F5DDE77133}" type="pres">
      <dgm:prSet presAssocID="{38B8D23A-BFA9-4818-B64F-A1A365F0C102}" presName="composite" presStyleCnt="0"/>
      <dgm:spPr/>
    </dgm:pt>
    <dgm:pt modelId="{E9F9ECA2-C522-47D4-BAF2-3DF0029EB574}" type="pres">
      <dgm:prSet presAssocID="{38B8D23A-BFA9-4818-B64F-A1A365F0C102}" presName="background" presStyleLbl="node0" presStyleIdx="0" presStyleCnt="1"/>
      <dgm:spPr/>
    </dgm:pt>
    <dgm:pt modelId="{B6EECCA9-C293-47A7-AB6E-E7A5EE41310A}" type="pres">
      <dgm:prSet presAssocID="{38B8D23A-BFA9-4818-B64F-A1A365F0C102}" presName="text" presStyleLbl="fgAcc0" presStyleIdx="0" presStyleCnt="1">
        <dgm:presLayoutVars>
          <dgm:chPref val="3"/>
        </dgm:presLayoutVars>
      </dgm:prSet>
      <dgm:spPr/>
    </dgm:pt>
    <dgm:pt modelId="{36B5D547-0115-469C-97F7-AC9C0669FD73}" type="pres">
      <dgm:prSet presAssocID="{38B8D23A-BFA9-4818-B64F-A1A365F0C102}" presName="hierChild2" presStyleCnt="0"/>
      <dgm:spPr/>
    </dgm:pt>
    <dgm:pt modelId="{E59A387E-51FF-4ABA-BAF3-E609CA8DBD54}" type="pres">
      <dgm:prSet presAssocID="{DD4B941C-8D63-4748-8839-6BE547164171}" presName="Name10" presStyleLbl="parChTrans1D2" presStyleIdx="0" presStyleCnt="2"/>
      <dgm:spPr/>
    </dgm:pt>
    <dgm:pt modelId="{D4C02B2C-75F2-4C20-9D75-7B9675F01A58}" type="pres">
      <dgm:prSet presAssocID="{E35D0684-9F9B-44CD-8CA5-74B0741AC2DB}" presName="hierRoot2" presStyleCnt="0"/>
      <dgm:spPr/>
    </dgm:pt>
    <dgm:pt modelId="{7A773178-ED0E-4063-98CD-72C20CFD8F8A}" type="pres">
      <dgm:prSet presAssocID="{E35D0684-9F9B-44CD-8CA5-74B0741AC2DB}" presName="composite2" presStyleCnt="0"/>
      <dgm:spPr/>
    </dgm:pt>
    <dgm:pt modelId="{5D5C0DF8-A151-45B8-B507-C2BC0BA96BEE}" type="pres">
      <dgm:prSet presAssocID="{E35D0684-9F9B-44CD-8CA5-74B0741AC2DB}" presName="background2" presStyleLbl="node2" presStyleIdx="0" presStyleCnt="2"/>
      <dgm:spPr/>
    </dgm:pt>
    <dgm:pt modelId="{CE6F44E1-818F-4455-BE15-AEC6EA55FC89}" type="pres">
      <dgm:prSet presAssocID="{E35D0684-9F9B-44CD-8CA5-74B0741AC2DB}" presName="text2" presStyleLbl="fgAcc2" presStyleIdx="0" presStyleCnt="2">
        <dgm:presLayoutVars>
          <dgm:chPref val="3"/>
        </dgm:presLayoutVars>
      </dgm:prSet>
      <dgm:spPr/>
    </dgm:pt>
    <dgm:pt modelId="{C26E766F-9311-4AE0-9FCA-694198933CEA}" type="pres">
      <dgm:prSet presAssocID="{E35D0684-9F9B-44CD-8CA5-74B0741AC2DB}" presName="hierChild3" presStyleCnt="0"/>
      <dgm:spPr/>
    </dgm:pt>
    <dgm:pt modelId="{6BEEE85E-D885-415D-9E03-B54790034942}" type="pres">
      <dgm:prSet presAssocID="{A03C7423-50AB-4825-92BB-5E236697A187}" presName="Name17" presStyleLbl="parChTrans1D3" presStyleIdx="0" presStyleCnt="5"/>
      <dgm:spPr/>
    </dgm:pt>
    <dgm:pt modelId="{8CC5E921-4352-43B1-AF44-8AFA1F169DD7}" type="pres">
      <dgm:prSet presAssocID="{BF890201-38E7-49E6-B6EA-EF3ECF243853}" presName="hierRoot3" presStyleCnt="0"/>
      <dgm:spPr/>
    </dgm:pt>
    <dgm:pt modelId="{88E3764B-F02B-4AD8-9F18-5B92A525BF45}" type="pres">
      <dgm:prSet presAssocID="{BF890201-38E7-49E6-B6EA-EF3ECF243853}" presName="composite3" presStyleCnt="0"/>
      <dgm:spPr/>
    </dgm:pt>
    <dgm:pt modelId="{43A29A45-6EEA-4CCA-BFF1-35D1C53F1A1A}" type="pres">
      <dgm:prSet presAssocID="{BF890201-38E7-49E6-B6EA-EF3ECF243853}" presName="background3" presStyleLbl="node3" presStyleIdx="0" presStyleCnt="5"/>
      <dgm:spPr/>
    </dgm:pt>
    <dgm:pt modelId="{11718914-D34C-47F1-836D-A568F208C651}" type="pres">
      <dgm:prSet presAssocID="{BF890201-38E7-49E6-B6EA-EF3ECF243853}" presName="text3" presStyleLbl="fgAcc3" presStyleIdx="0" presStyleCnt="5">
        <dgm:presLayoutVars>
          <dgm:chPref val="3"/>
        </dgm:presLayoutVars>
      </dgm:prSet>
      <dgm:spPr/>
    </dgm:pt>
    <dgm:pt modelId="{42CA9030-FEFA-483D-A9D7-8E7FB0DBB534}" type="pres">
      <dgm:prSet presAssocID="{BF890201-38E7-49E6-B6EA-EF3ECF243853}" presName="hierChild4" presStyleCnt="0"/>
      <dgm:spPr/>
    </dgm:pt>
    <dgm:pt modelId="{23CA1A49-DE84-47BE-ABCA-A46B75C2DECA}" type="pres">
      <dgm:prSet presAssocID="{80474A51-6052-4866-ACBB-5173E224FEAC}" presName="Name17" presStyleLbl="parChTrans1D3" presStyleIdx="1" presStyleCnt="5"/>
      <dgm:spPr/>
    </dgm:pt>
    <dgm:pt modelId="{4761F18F-1AA5-485F-8F4B-6FE552D02001}" type="pres">
      <dgm:prSet presAssocID="{298EE0FC-93BB-444C-84CD-E7E6DF854895}" presName="hierRoot3" presStyleCnt="0"/>
      <dgm:spPr/>
    </dgm:pt>
    <dgm:pt modelId="{416FBB82-E86F-4117-BEB8-C7B13A0E649E}" type="pres">
      <dgm:prSet presAssocID="{298EE0FC-93BB-444C-84CD-E7E6DF854895}" presName="composite3" presStyleCnt="0"/>
      <dgm:spPr/>
    </dgm:pt>
    <dgm:pt modelId="{935B8EC5-AA76-43E8-A86C-8029AC44A0DB}" type="pres">
      <dgm:prSet presAssocID="{298EE0FC-93BB-444C-84CD-E7E6DF854895}" presName="background3" presStyleLbl="node3" presStyleIdx="1" presStyleCnt="5"/>
      <dgm:spPr/>
    </dgm:pt>
    <dgm:pt modelId="{A1FE74A4-EE32-4FF9-92D8-A5FB4DFDDC3A}" type="pres">
      <dgm:prSet presAssocID="{298EE0FC-93BB-444C-84CD-E7E6DF854895}" presName="text3" presStyleLbl="fgAcc3" presStyleIdx="1" presStyleCnt="5">
        <dgm:presLayoutVars>
          <dgm:chPref val="3"/>
        </dgm:presLayoutVars>
      </dgm:prSet>
      <dgm:spPr/>
    </dgm:pt>
    <dgm:pt modelId="{A8F8BEE3-49DA-4C62-9B48-E9FC94A27823}" type="pres">
      <dgm:prSet presAssocID="{298EE0FC-93BB-444C-84CD-E7E6DF854895}" presName="hierChild4" presStyleCnt="0"/>
      <dgm:spPr/>
    </dgm:pt>
    <dgm:pt modelId="{DCFBA811-6ACC-424A-9200-9FC27B5ACB33}" type="pres">
      <dgm:prSet presAssocID="{FDF210C3-39B1-4483-A90A-97295206CFD4}" presName="Name10" presStyleLbl="parChTrans1D2" presStyleIdx="1" presStyleCnt="2"/>
      <dgm:spPr/>
    </dgm:pt>
    <dgm:pt modelId="{8902C77F-BB2D-48F3-885B-1BBADAE9D305}" type="pres">
      <dgm:prSet presAssocID="{DD7ED352-4921-4017-B934-7A8503F87DAB}" presName="hierRoot2" presStyleCnt="0"/>
      <dgm:spPr/>
    </dgm:pt>
    <dgm:pt modelId="{C06E46E2-61E4-40C3-B025-4239EBFD6C65}" type="pres">
      <dgm:prSet presAssocID="{DD7ED352-4921-4017-B934-7A8503F87DAB}" presName="composite2" presStyleCnt="0"/>
      <dgm:spPr/>
    </dgm:pt>
    <dgm:pt modelId="{AC54C586-1ED6-4C24-B69B-0792FB0FA6AF}" type="pres">
      <dgm:prSet presAssocID="{DD7ED352-4921-4017-B934-7A8503F87DAB}" presName="background2" presStyleLbl="node2" presStyleIdx="1" presStyleCnt="2"/>
      <dgm:spPr/>
    </dgm:pt>
    <dgm:pt modelId="{0439BD01-5323-4EE9-B9B9-A1DCED9CFE99}" type="pres">
      <dgm:prSet presAssocID="{DD7ED352-4921-4017-B934-7A8503F87DAB}" presName="text2" presStyleLbl="fgAcc2" presStyleIdx="1" presStyleCnt="2">
        <dgm:presLayoutVars>
          <dgm:chPref val="3"/>
        </dgm:presLayoutVars>
      </dgm:prSet>
      <dgm:spPr/>
    </dgm:pt>
    <dgm:pt modelId="{16350F5D-51E8-4C4F-AA61-344A3A9B3C65}" type="pres">
      <dgm:prSet presAssocID="{DD7ED352-4921-4017-B934-7A8503F87DAB}" presName="hierChild3" presStyleCnt="0"/>
      <dgm:spPr/>
    </dgm:pt>
    <dgm:pt modelId="{32812269-9E31-4DF3-88F4-494ABE7D8AD2}" type="pres">
      <dgm:prSet presAssocID="{A8EF669E-BC2D-421C-AE26-5BBEC5B0451A}" presName="Name17" presStyleLbl="parChTrans1D3" presStyleIdx="2" presStyleCnt="5"/>
      <dgm:spPr/>
    </dgm:pt>
    <dgm:pt modelId="{E0E6F430-F3B3-4A56-B2D3-291D31A694C4}" type="pres">
      <dgm:prSet presAssocID="{8962FCA6-70D4-4010-B017-3B6203FC388B}" presName="hierRoot3" presStyleCnt="0"/>
      <dgm:spPr/>
    </dgm:pt>
    <dgm:pt modelId="{2EBEAAA5-B7D1-4388-A57E-819E672EA0A3}" type="pres">
      <dgm:prSet presAssocID="{8962FCA6-70D4-4010-B017-3B6203FC388B}" presName="composite3" presStyleCnt="0"/>
      <dgm:spPr/>
    </dgm:pt>
    <dgm:pt modelId="{0C64D293-EED6-4790-8AE5-73C8233FE025}" type="pres">
      <dgm:prSet presAssocID="{8962FCA6-70D4-4010-B017-3B6203FC388B}" presName="background3" presStyleLbl="node3" presStyleIdx="2" presStyleCnt="5"/>
      <dgm:spPr/>
    </dgm:pt>
    <dgm:pt modelId="{4975BCD8-58B5-421F-AAA0-37B09F439A6C}" type="pres">
      <dgm:prSet presAssocID="{8962FCA6-70D4-4010-B017-3B6203FC388B}" presName="text3" presStyleLbl="fgAcc3" presStyleIdx="2" presStyleCnt="5">
        <dgm:presLayoutVars>
          <dgm:chPref val="3"/>
        </dgm:presLayoutVars>
      </dgm:prSet>
      <dgm:spPr/>
    </dgm:pt>
    <dgm:pt modelId="{D669227E-C180-47F6-9F29-CA6E8CEBAEAF}" type="pres">
      <dgm:prSet presAssocID="{8962FCA6-70D4-4010-B017-3B6203FC388B}" presName="hierChild4" presStyleCnt="0"/>
      <dgm:spPr/>
    </dgm:pt>
    <dgm:pt modelId="{637C804D-90D4-4E27-AE24-7F79A5C82A25}" type="pres">
      <dgm:prSet presAssocID="{56D07770-02B0-49F7-ABB6-4E6FD5CDE85A}" presName="Name17" presStyleLbl="parChTrans1D3" presStyleIdx="3" presStyleCnt="5"/>
      <dgm:spPr/>
    </dgm:pt>
    <dgm:pt modelId="{6CDB4CB2-09EA-4213-AAD3-6638BE79D910}" type="pres">
      <dgm:prSet presAssocID="{D3C1D449-C262-4A40-97B2-76C80261FD52}" presName="hierRoot3" presStyleCnt="0"/>
      <dgm:spPr/>
    </dgm:pt>
    <dgm:pt modelId="{51F025AD-8661-4DBA-A1B2-D03B19E15BF3}" type="pres">
      <dgm:prSet presAssocID="{D3C1D449-C262-4A40-97B2-76C80261FD52}" presName="composite3" presStyleCnt="0"/>
      <dgm:spPr/>
    </dgm:pt>
    <dgm:pt modelId="{36397BA0-D7FE-4C67-8200-40E4CA491F69}" type="pres">
      <dgm:prSet presAssocID="{D3C1D449-C262-4A40-97B2-76C80261FD52}" presName="background3" presStyleLbl="node3" presStyleIdx="3" presStyleCnt="5"/>
      <dgm:spPr/>
    </dgm:pt>
    <dgm:pt modelId="{AEDBBE35-E29E-4C70-BFBE-23D1EE7DB034}" type="pres">
      <dgm:prSet presAssocID="{D3C1D449-C262-4A40-97B2-76C80261FD52}" presName="text3" presStyleLbl="fgAcc3" presStyleIdx="3" presStyleCnt="5">
        <dgm:presLayoutVars>
          <dgm:chPref val="3"/>
        </dgm:presLayoutVars>
      </dgm:prSet>
      <dgm:spPr/>
    </dgm:pt>
    <dgm:pt modelId="{CE3ADDDD-1CD8-4A9B-BB27-9C1474C482AA}" type="pres">
      <dgm:prSet presAssocID="{D3C1D449-C262-4A40-97B2-76C80261FD52}" presName="hierChild4" presStyleCnt="0"/>
      <dgm:spPr/>
    </dgm:pt>
    <dgm:pt modelId="{ECFBCC41-9BA6-479C-AC5D-D96CD6CBCCE8}" type="pres">
      <dgm:prSet presAssocID="{8A79CDA0-3330-4A4E-91C5-1D37BE97798D}" presName="Name17" presStyleLbl="parChTrans1D3" presStyleIdx="4" presStyleCnt="5"/>
      <dgm:spPr/>
    </dgm:pt>
    <dgm:pt modelId="{84489A38-DD8C-415C-BC46-526291A67990}" type="pres">
      <dgm:prSet presAssocID="{D138C50B-325E-4320-9889-EAC30324298F}" presName="hierRoot3" presStyleCnt="0"/>
      <dgm:spPr/>
    </dgm:pt>
    <dgm:pt modelId="{F118DB5B-0BE0-42C3-B52F-6DF4C60A1853}" type="pres">
      <dgm:prSet presAssocID="{D138C50B-325E-4320-9889-EAC30324298F}" presName="composite3" presStyleCnt="0"/>
      <dgm:spPr/>
    </dgm:pt>
    <dgm:pt modelId="{02A040D4-769F-4A52-AA61-6AA61243D458}" type="pres">
      <dgm:prSet presAssocID="{D138C50B-325E-4320-9889-EAC30324298F}" presName="background3" presStyleLbl="node3" presStyleIdx="4" presStyleCnt="5"/>
      <dgm:spPr/>
    </dgm:pt>
    <dgm:pt modelId="{EA90018C-28E1-485C-96F3-DCAEABFC59B1}" type="pres">
      <dgm:prSet presAssocID="{D138C50B-325E-4320-9889-EAC30324298F}" presName="text3" presStyleLbl="fgAcc3" presStyleIdx="4" presStyleCnt="5">
        <dgm:presLayoutVars>
          <dgm:chPref val="3"/>
        </dgm:presLayoutVars>
      </dgm:prSet>
      <dgm:spPr/>
    </dgm:pt>
    <dgm:pt modelId="{12534D47-0A4F-4565-A475-CFDE4092E4C0}" type="pres">
      <dgm:prSet presAssocID="{D138C50B-325E-4320-9889-EAC30324298F}" presName="hierChild4" presStyleCnt="0"/>
      <dgm:spPr/>
    </dgm:pt>
  </dgm:ptLst>
  <dgm:cxnLst>
    <dgm:cxn modelId="{85909201-35BC-4FFC-B8D9-809EE4218161}" type="presOf" srcId="{298EE0FC-93BB-444C-84CD-E7E6DF854895}" destId="{A1FE74A4-EE32-4FF9-92D8-A5FB4DFDDC3A}" srcOrd="0" destOrd="0" presId="urn:microsoft.com/office/officeart/2005/8/layout/hierarchy1"/>
    <dgm:cxn modelId="{F9592808-7831-489A-86D6-F2E0B64C87CB}" srcId="{3326BE53-4CE5-4D48-80D7-828ADBB915E9}" destId="{38B8D23A-BFA9-4818-B64F-A1A365F0C102}" srcOrd="0" destOrd="0" parTransId="{38FBEB55-3A78-47E2-BA0A-A5713AC8E0BA}" sibTransId="{B09D2E21-D3E0-4B5D-82FB-F832C65E7336}"/>
    <dgm:cxn modelId="{43C1AD19-82C0-4060-9333-6FD495CC49BF}" type="presOf" srcId="{80474A51-6052-4866-ACBB-5173E224FEAC}" destId="{23CA1A49-DE84-47BE-ABCA-A46B75C2DECA}" srcOrd="0" destOrd="0" presId="urn:microsoft.com/office/officeart/2005/8/layout/hierarchy1"/>
    <dgm:cxn modelId="{3D5CE51E-EBF7-4295-9A39-8A90B6E24087}" srcId="{DD7ED352-4921-4017-B934-7A8503F87DAB}" destId="{8962FCA6-70D4-4010-B017-3B6203FC388B}" srcOrd="0" destOrd="0" parTransId="{A8EF669E-BC2D-421C-AE26-5BBEC5B0451A}" sibTransId="{BBFD3252-A68B-4F97-9658-F1D079BCAD72}"/>
    <dgm:cxn modelId="{269D5326-B764-4A02-A1BF-FA0BAEE44D9A}" type="presOf" srcId="{A8EF669E-BC2D-421C-AE26-5BBEC5B0451A}" destId="{32812269-9E31-4DF3-88F4-494ABE7D8AD2}" srcOrd="0" destOrd="0" presId="urn:microsoft.com/office/officeart/2005/8/layout/hierarchy1"/>
    <dgm:cxn modelId="{BE906333-C9CB-4C5B-8FCD-F5E7C4FCA969}" type="presOf" srcId="{DD7ED352-4921-4017-B934-7A8503F87DAB}" destId="{0439BD01-5323-4EE9-B9B9-A1DCED9CFE99}" srcOrd="0" destOrd="0" presId="urn:microsoft.com/office/officeart/2005/8/layout/hierarchy1"/>
    <dgm:cxn modelId="{CB573939-81D9-45C5-8C27-5FEBE4E3AB20}" type="presOf" srcId="{3326BE53-4CE5-4D48-80D7-828ADBB915E9}" destId="{D4EDDE00-6CC9-465D-A6F1-E3BA34DA7CF0}" srcOrd="0" destOrd="0" presId="urn:microsoft.com/office/officeart/2005/8/layout/hierarchy1"/>
    <dgm:cxn modelId="{C3996A6E-2F3B-4B5A-A761-BCE77F1EDCB2}" srcId="{38B8D23A-BFA9-4818-B64F-A1A365F0C102}" destId="{E35D0684-9F9B-44CD-8CA5-74B0741AC2DB}" srcOrd="0" destOrd="0" parTransId="{DD4B941C-8D63-4748-8839-6BE547164171}" sibTransId="{EE63E12E-D6E7-4B39-B26A-BEBE1DAF5DCC}"/>
    <dgm:cxn modelId="{C34DF558-717E-4C5F-A142-42BA9D6F0C1A}" type="presOf" srcId="{BF890201-38E7-49E6-B6EA-EF3ECF243853}" destId="{11718914-D34C-47F1-836D-A568F208C651}" srcOrd="0" destOrd="0" presId="urn:microsoft.com/office/officeart/2005/8/layout/hierarchy1"/>
    <dgm:cxn modelId="{59DCEB80-5C58-4733-B653-F5420177B7B7}" type="presOf" srcId="{D3C1D449-C262-4A40-97B2-76C80261FD52}" destId="{AEDBBE35-E29E-4C70-BFBE-23D1EE7DB034}" srcOrd="0" destOrd="0" presId="urn:microsoft.com/office/officeart/2005/8/layout/hierarchy1"/>
    <dgm:cxn modelId="{E1B13A88-4881-47C7-8354-C07608F5F956}" type="presOf" srcId="{D138C50B-325E-4320-9889-EAC30324298F}" destId="{EA90018C-28E1-485C-96F3-DCAEABFC59B1}" srcOrd="0" destOrd="0" presId="urn:microsoft.com/office/officeart/2005/8/layout/hierarchy1"/>
    <dgm:cxn modelId="{C1E6668C-D9E1-45D1-A44A-1242F69A07FC}" srcId="{DD7ED352-4921-4017-B934-7A8503F87DAB}" destId="{D3C1D449-C262-4A40-97B2-76C80261FD52}" srcOrd="1" destOrd="0" parTransId="{56D07770-02B0-49F7-ABB6-4E6FD5CDE85A}" sibTransId="{2041E67E-528A-4F40-A66C-ABA26E8540C5}"/>
    <dgm:cxn modelId="{A28D118F-C9B5-48C1-BF5B-485EBEE46709}" srcId="{38B8D23A-BFA9-4818-B64F-A1A365F0C102}" destId="{DD7ED352-4921-4017-B934-7A8503F87DAB}" srcOrd="1" destOrd="0" parTransId="{FDF210C3-39B1-4483-A90A-97295206CFD4}" sibTransId="{A785B81A-DD5D-4228-8820-49849DDEE086}"/>
    <dgm:cxn modelId="{E99201B4-A772-45BE-8BE6-1334AC80A7F9}" type="presOf" srcId="{38B8D23A-BFA9-4818-B64F-A1A365F0C102}" destId="{B6EECCA9-C293-47A7-AB6E-E7A5EE41310A}" srcOrd="0" destOrd="0" presId="urn:microsoft.com/office/officeart/2005/8/layout/hierarchy1"/>
    <dgm:cxn modelId="{F19825C5-EA35-4476-9D97-205EBD732CF5}" type="presOf" srcId="{8A79CDA0-3330-4A4E-91C5-1D37BE97798D}" destId="{ECFBCC41-9BA6-479C-AC5D-D96CD6CBCCE8}" srcOrd="0" destOrd="0" presId="urn:microsoft.com/office/officeart/2005/8/layout/hierarchy1"/>
    <dgm:cxn modelId="{57C28FCA-4F93-4B10-91ED-57D541A99AAF}" srcId="{E35D0684-9F9B-44CD-8CA5-74B0741AC2DB}" destId="{298EE0FC-93BB-444C-84CD-E7E6DF854895}" srcOrd="1" destOrd="0" parTransId="{80474A51-6052-4866-ACBB-5173E224FEAC}" sibTransId="{E652F941-40F7-4AC0-BC64-DDDC0ED0F1FB}"/>
    <dgm:cxn modelId="{43BCD9D0-ADD3-4975-BCE4-DF7C65F883A8}" type="presOf" srcId="{56D07770-02B0-49F7-ABB6-4E6FD5CDE85A}" destId="{637C804D-90D4-4E27-AE24-7F79A5C82A25}" srcOrd="0" destOrd="0" presId="urn:microsoft.com/office/officeart/2005/8/layout/hierarchy1"/>
    <dgm:cxn modelId="{1DEC48D6-7B5C-4629-93E6-370EFCC71037}" srcId="{E35D0684-9F9B-44CD-8CA5-74B0741AC2DB}" destId="{BF890201-38E7-49E6-B6EA-EF3ECF243853}" srcOrd="0" destOrd="0" parTransId="{A03C7423-50AB-4825-92BB-5E236697A187}" sibTransId="{9492DE17-34E5-4083-A04C-7A773316BA64}"/>
    <dgm:cxn modelId="{1CBD3FDA-9DDE-42E8-A59F-30C7B19DC3EE}" type="presOf" srcId="{DD4B941C-8D63-4748-8839-6BE547164171}" destId="{E59A387E-51FF-4ABA-BAF3-E609CA8DBD54}" srcOrd="0" destOrd="0" presId="urn:microsoft.com/office/officeart/2005/8/layout/hierarchy1"/>
    <dgm:cxn modelId="{904EF1DC-91CD-49C2-9F43-3809F4799991}" srcId="{DD7ED352-4921-4017-B934-7A8503F87DAB}" destId="{D138C50B-325E-4320-9889-EAC30324298F}" srcOrd="2" destOrd="0" parTransId="{8A79CDA0-3330-4A4E-91C5-1D37BE97798D}" sibTransId="{A1E04829-B47A-4B3B-B896-E958741EC323}"/>
    <dgm:cxn modelId="{A6C108F0-9B34-4439-BCB8-FBAF973B0A88}" type="presOf" srcId="{8962FCA6-70D4-4010-B017-3B6203FC388B}" destId="{4975BCD8-58B5-421F-AAA0-37B09F439A6C}" srcOrd="0" destOrd="0" presId="urn:microsoft.com/office/officeart/2005/8/layout/hierarchy1"/>
    <dgm:cxn modelId="{EE3A67F3-8F26-4A51-99A1-50DC29C85227}" type="presOf" srcId="{A03C7423-50AB-4825-92BB-5E236697A187}" destId="{6BEEE85E-D885-415D-9E03-B54790034942}" srcOrd="0" destOrd="0" presId="urn:microsoft.com/office/officeart/2005/8/layout/hierarchy1"/>
    <dgm:cxn modelId="{CFA4D9F8-FE83-4B9B-B936-300A4B34FD1F}" type="presOf" srcId="{E35D0684-9F9B-44CD-8CA5-74B0741AC2DB}" destId="{CE6F44E1-818F-4455-BE15-AEC6EA55FC89}" srcOrd="0" destOrd="0" presId="urn:microsoft.com/office/officeart/2005/8/layout/hierarchy1"/>
    <dgm:cxn modelId="{D4DD8AFF-AE4E-4BFC-83D3-8B6EF5FC1689}" type="presOf" srcId="{FDF210C3-39B1-4483-A90A-97295206CFD4}" destId="{DCFBA811-6ACC-424A-9200-9FC27B5ACB33}" srcOrd="0" destOrd="0" presId="urn:microsoft.com/office/officeart/2005/8/layout/hierarchy1"/>
    <dgm:cxn modelId="{F300209A-8D53-4AFD-9237-E7857CA23EC7}" type="presParOf" srcId="{D4EDDE00-6CC9-465D-A6F1-E3BA34DA7CF0}" destId="{25D2BAF5-6346-4D56-9870-CB2D92737DAB}" srcOrd="0" destOrd="0" presId="urn:microsoft.com/office/officeart/2005/8/layout/hierarchy1"/>
    <dgm:cxn modelId="{0E230E53-2AF1-486F-9BEF-209C0D3B3AA7}" type="presParOf" srcId="{25D2BAF5-6346-4D56-9870-CB2D92737DAB}" destId="{CFE8EC25-E025-4C94-8CF8-B0F5DDE77133}" srcOrd="0" destOrd="0" presId="urn:microsoft.com/office/officeart/2005/8/layout/hierarchy1"/>
    <dgm:cxn modelId="{05092627-7802-4E44-AC74-5838709FD467}" type="presParOf" srcId="{CFE8EC25-E025-4C94-8CF8-B0F5DDE77133}" destId="{E9F9ECA2-C522-47D4-BAF2-3DF0029EB574}" srcOrd="0" destOrd="0" presId="urn:microsoft.com/office/officeart/2005/8/layout/hierarchy1"/>
    <dgm:cxn modelId="{F2243655-8083-4BA1-BD14-BB8CB4D10F04}" type="presParOf" srcId="{CFE8EC25-E025-4C94-8CF8-B0F5DDE77133}" destId="{B6EECCA9-C293-47A7-AB6E-E7A5EE41310A}" srcOrd="1" destOrd="0" presId="urn:microsoft.com/office/officeart/2005/8/layout/hierarchy1"/>
    <dgm:cxn modelId="{2D476F4A-8C22-43C8-B312-D113BB29F17C}" type="presParOf" srcId="{25D2BAF5-6346-4D56-9870-CB2D92737DAB}" destId="{36B5D547-0115-469C-97F7-AC9C0669FD73}" srcOrd="1" destOrd="0" presId="urn:microsoft.com/office/officeart/2005/8/layout/hierarchy1"/>
    <dgm:cxn modelId="{617E1B38-952B-4C04-949F-F46F34D4B297}" type="presParOf" srcId="{36B5D547-0115-469C-97F7-AC9C0669FD73}" destId="{E59A387E-51FF-4ABA-BAF3-E609CA8DBD54}" srcOrd="0" destOrd="0" presId="urn:microsoft.com/office/officeart/2005/8/layout/hierarchy1"/>
    <dgm:cxn modelId="{59BF4FEB-FC9C-465E-998C-8067D9AE21BE}" type="presParOf" srcId="{36B5D547-0115-469C-97F7-AC9C0669FD73}" destId="{D4C02B2C-75F2-4C20-9D75-7B9675F01A58}" srcOrd="1" destOrd="0" presId="urn:microsoft.com/office/officeart/2005/8/layout/hierarchy1"/>
    <dgm:cxn modelId="{56C828A2-4CE3-4CD9-B503-22566D9E8188}" type="presParOf" srcId="{D4C02B2C-75F2-4C20-9D75-7B9675F01A58}" destId="{7A773178-ED0E-4063-98CD-72C20CFD8F8A}" srcOrd="0" destOrd="0" presId="urn:microsoft.com/office/officeart/2005/8/layout/hierarchy1"/>
    <dgm:cxn modelId="{0B4061A4-26AD-48B3-A130-DDB272556423}" type="presParOf" srcId="{7A773178-ED0E-4063-98CD-72C20CFD8F8A}" destId="{5D5C0DF8-A151-45B8-B507-C2BC0BA96BEE}" srcOrd="0" destOrd="0" presId="urn:microsoft.com/office/officeart/2005/8/layout/hierarchy1"/>
    <dgm:cxn modelId="{F2C13892-939A-4CC5-8904-C0CA703766E6}" type="presParOf" srcId="{7A773178-ED0E-4063-98CD-72C20CFD8F8A}" destId="{CE6F44E1-818F-4455-BE15-AEC6EA55FC89}" srcOrd="1" destOrd="0" presId="urn:microsoft.com/office/officeart/2005/8/layout/hierarchy1"/>
    <dgm:cxn modelId="{3519E06A-ADA5-49EB-A24E-6034A6E2FAD7}" type="presParOf" srcId="{D4C02B2C-75F2-4C20-9D75-7B9675F01A58}" destId="{C26E766F-9311-4AE0-9FCA-694198933CEA}" srcOrd="1" destOrd="0" presId="urn:microsoft.com/office/officeart/2005/8/layout/hierarchy1"/>
    <dgm:cxn modelId="{A281DC06-94A3-4447-AE8F-799D2D14A9BD}" type="presParOf" srcId="{C26E766F-9311-4AE0-9FCA-694198933CEA}" destId="{6BEEE85E-D885-415D-9E03-B54790034942}" srcOrd="0" destOrd="0" presId="urn:microsoft.com/office/officeart/2005/8/layout/hierarchy1"/>
    <dgm:cxn modelId="{6EC99989-F8DF-4D4F-88F6-757A92825A43}" type="presParOf" srcId="{C26E766F-9311-4AE0-9FCA-694198933CEA}" destId="{8CC5E921-4352-43B1-AF44-8AFA1F169DD7}" srcOrd="1" destOrd="0" presId="urn:microsoft.com/office/officeart/2005/8/layout/hierarchy1"/>
    <dgm:cxn modelId="{12E88533-FA6D-42C8-930F-1CC765C13F0E}" type="presParOf" srcId="{8CC5E921-4352-43B1-AF44-8AFA1F169DD7}" destId="{88E3764B-F02B-4AD8-9F18-5B92A525BF45}" srcOrd="0" destOrd="0" presId="urn:microsoft.com/office/officeart/2005/8/layout/hierarchy1"/>
    <dgm:cxn modelId="{CBC3994A-578B-47A4-9953-B91847B2DF06}" type="presParOf" srcId="{88E3764B-F02B-4AD8-9F18-5B92A525BF45}" destId="{43A29A45-6EEA-4CCA-BFF1-35D1C53F1A1A}" srcOrd="0" destOrd="0" presId="urn:microsoft.com/office/officeart/2005/8/layout/hierarchy1"/>
    <dgm:cxn modelId="{C8AE1F64-DE1A-4F7A-987B-FB21C5B69BBF}" type="presParOf" srcId="{88E3764B-F02B-4AD8-9F18-5B92A525BF45}" destId="{11718914-D34C-47F1-836D-A568F208C651}" srcOrd="1" destOrd="0" presId="urn:microsoft.com/office/officeart/2005/8/layout/hierarchy1"/>
    <dgm:cxn modelId="{248A9B9E-EAFB-4A69-AA74-38FE4485037B}" type="presParOf" srcId="{8CC5E921-4352-43B1-AF44-8AFA1F169DD7}" destId="{42CA9030-FEFA-483D-A9D7-8E7FB0DBB534}" srcOrd="1" destOrd="0" presId="urn:microsoft.com/office/officeart/2005/8/layout/hierarchy1"/>
    <dgm:cxn modelId="{82039DA8-4D89-4A4E-B8BF-58E150CE4C4E}" type="presParOf" srcId="{C26E766F-9311-4AE0-9FCA-694198933CEA}" destId="{23CA1A49-DE84-47BE-ABCA-A46B75C2DECA}" srcOrd="2" destOrd="0" presId="urn:microsoft.com/office/officeart/2005/8/layout/hierarchy1"/>
    <dgm:cxn modelId="{46A5238E-0477-4855-A9F3-B5E0AB19A268}" type="presParOf" srcId="{C26E766F-9311-4AE0-9FCA-694198933CEA}" destId="{4761F18F-1AA5-485F-8F4B-6FE552D02001}" srcOrd="3" destOrd="0" presId="urn:microsoft.com/office/officeart/2005/8/layout/hierarchy1"/>
    <dgm:cxn modelId="{1B68AB56-B4F8-4866-9658-DBBD5D4DA25E}" type="presParOf" srcId="{4761F18F-1AA5-485F-8F4B-6FE552D02001}" destId="{416FBB82-E86F-4117-BEB8-C7B13A0E649E}" srcOrd="0" destOrd="0" presId="urn:microsoft.com/office/officeart/2005/8/layout/hierarchy1"/>
    <dgm:cxn modelId="{99A23431-A5F3-4C8D-A2D0-1A40505AC24D}" type="presParOf" srcId="{416FBB82-E86F-4117-BEB8-C7B13A0E649E}" destId="{935B8EC5-AA76-43E8-A86C-8029AC44A0DB}" srcOrd="0" destOrd="0" presId="urn:microsoft.com/office/officeart/2005/8/layout/hierarchy1"/>
    <dgm:cxn modelId="{5C99B1CD-D557-4E11-B3A3-8BB3C1FEE880}" type="presParOf" srcId="{416FBB82-E86F-4117-BEB8-C7B13A0E649E}" destId="{A1FE74A4-EE32-4FF9-92D8-A5FB4DFDDC3A}" srcOrd="1" destOrd="0" presId="urn:microsoft.com/office/officeart/2005/8/layout/hierarchy1"/>
    <dgm:cxn modelId="{263DA899-9B3D-49A8-B88D-3BFCD23BD36F}" type="presParOf" srcId="{4761F18F-1AA5-485F-8F4B-6FE552D02001}" destId="{A8F8BEE3-49DA-4C62-9B48-E9FC94A27823}" srcOrd="1" destOrd="0" presId="urn:microsoft.com/office/officeart/2005/8/layout/hierarchy1"/>
    <dgm:cxn modelId="{59378083-B923-4484-92EA-0D7F956C8FCA}" type="presParOf" srcId="{36B5D547-0115-469C-97F7-AC9C0669FD73}" destId="{DCFBA811-6ACC-424A-9200-9FC27B5ACB33}" srcOrd="2" destOrd="0" presId="urn:microsoft.com/office/officeart/2005/8/layout/hierarchy1"/>
    <dgm:cxn modelId="{3609EDB5-CAB0-4A95-A2BE-3C356E8BF8D4}" type="presParOf" srcId="{36B5D547-0115-469C-97F7-AC9C0669FD73}" destId="{8902C77F-BB2D-48F3-885B-1BBADAE9D305}" srcOrd="3" destOrd="0" presId="urn:microsoft.com/office/officeart/2005/8/layout/hierarchy1"/>
    <dgm:cxn modelId="{2C4E93F7-A1F9-4D96-AE96-7BD4CAA5AF0F}" type="presParOf" srcId="{8902C77F-BB2D-48F3-885B-1BBADAE9D305}" destId="{C06E46E2-61E4-40C3-B025-4239EBFD6C65}" srcOrd="0" destOrd="0" presId="urn:microsoft.com/office/officeart/2005/8/layout/hierarchy1"/>
    <dgm:cxn modelId="{36B3B88A-02D9-4EE7-A2CB-8917BB368AF6}" type="presParOf" srcId="{C06E46E2-61E4-40C3-B025-4239EBFD6C65}" destId="{AC54C586-1ED6-4C24-B69B-0792FB0FA6AF}" srcOrd="0" destOrd="0" presId="urn:microsoft.com/office/officeart/2005/8/layout/hierarchy1"/>
    <dgm:cxn modelId="{304E1BBA-2CE8-441F-862D-C3C1033C8BFB}" type="presParOf" srcId="{C06E46E2-61E4-40C3-B025-4239EBFD6C65}" destId="{0439BD01-5323-4EE9-B9B9-A1DCED9CFE99}" srcOrd="1" destOrd="0" presId="urn:microsoft.com/office/officeart/2005/8/layout/hierarchy1"/>
    <dgm:cxn modelId="{5A4411C7-385E-44D2-ADFC-DECE76775F0A}" type="presParOf" srcId="{8902C77F-BB2D-48F3-885B-1BBADAE9D305}" destId="{16350F5D-51E8-4C4F-AA61-344A3A9B3C65}" srcOrd="1" destOrd="0" presId="urn:microsoft.com/office/officeart/2005/8/layout/hierarchy1"/>
    <dgm:cxn modelId="{8B0CCBE9-3CBB-4A16-BD58-91EA13A064CD}" type="presParOf" srcId="{16350F5D-51E8-4C4F-AA61-344A3A9B3C65}" destId="{32812269-9E31-4DF3-88F4-494ABE7D8AD2}" srcOrd="0" destOrd="0" presId="urn:microsoft.com/office/officeart/2005/8/layout/hierarchy1"/>
    <dgm:cxn modelId="{C42611D6-3798-4143-AF6E-4E415BD76CBB}" type="presParOf" srcId="{16350F5D-51E8-4C4F-AA61-344A3A9B3C65}" destId="{E0E6F430-F3B3-4A56-B2D3-291D31A694C4}" srcOrd="1" destOrd="0" presId="urn:microsoft.com/office/officeart/2005/8/layout/hierarchy1"/>
    <dgm:cxn modelId="{1434BD8B-F352-4C4A-8DC8-A7ACE98F1CCE}" type="presParOf" srcId="{E0E6F430-F3B3-4A56-B2D3-291D31A694C4}" destId="{2EBEAAA5-B7D1-4388-A57E-819E672EA0A3}" srcOrd="0" destOrd="0" presId="urn:microsoft.com/office/officeart/2005/8/layout/hierarchy1"/>
    <dgm:cxn modelId="{DE620B04-5AE8-4A75-A622-642C70950604}" type="presParOf" srcId="{2EBEAAA5-B7D1-4388-A57E-819E672EA0A3}" destId="{0C64D293-EED6-4790-8AE5-73C8233FE025}" srcOrd="0" destOrd="0" presId="urn:microsoft.com/office/officeart/2005/8/layout/hierarchy1"/>
    <dgm:cxn modelId="{8A7CCBC1-32E3-4411-95B5-AF37BBE3AC38}" type="presParOf" srcId="{2EBEAAA5-B7D1-4388-A57E-819E672EA0A3}" destId="{4975BCD8-58B5-421F-AAA0-37B09F439A6C}" srcOrd="1" destOrd="0" presId="urn:microsoft.com/office/officeart/2005/8/layout/hierarchy1"/>
    <dgm:cxn modelId="{D3B05B99-A0FD-48F7-BE28-0C0D2526418C}" type="presParOf" srcId="{E0E6F430-F3B3-4A56-B2D3-291D31A694C4}" destId="{D669227E-C180-47F6-9F29-CA6E8CEBAEAF}" srcOrd="1" destOrd="0" presId="urn:microsoft.com/office/officeart/2005/8/layout/hierarchy1"/>
    <dgm:cxn modelId="{C2301CC7-8FB7-4627-9B83-3013BC6BDF2F}" type="presParOf" srcId="{16350F5D-51E8-4C4F-AA61-344A3A9B3C65}" destId="{637C804D-90D4-4E27-AE24-7F79A5C82A25}" srcOrd="2" destOrd="0" presId="urn:microsoft.com/office/officeart/2005/8/layout/hierarchy1"/>
    <dgm:cxn modelId="{272CAA08-2559-4D91-BFF2-A90F64A570FE}" type="presParOf" srcId="{16350F5D-51E8-4C4F-AA61-344A3A9B3C65}" destId="{6CDB4CB2-09EA-4213-AAD3-6638BE79D910}" srcOrd="3" destOrd="0" presId="urn:microsoft.com/office/officeart/2005/8/layout/hierarchy1"/>
    <dgm:cxn modelId="{097E5814-385B-4C3F-BAED-BF054459E9CA}" type="presParOf" srcId="{6CDB4CB2-09EA-4213-AAD3-6638BE79D910}" destId="{51F025AD-8661-4DBA-A1B2-D03B19E15BF3}" srcOrd="0" destOrd="0" presId="urn:microsoft.com/office/officeart/2005/8/layout/hierarchy1"/>
    <dgm:cxn modelId="{C2E3994F-00C6-4554-9507-3616D66C1224}" type="presParOf" srcId="{51F025AD-8661-4DBA-A1B2-D03B19E15BF3}" destId="{36397BA0-D7FE-4C67-8200-40E4CA491F69}" srcOrd="0" destOrd="0" presId="urn:microsoft.com/office/officeart/2005/8/layout/hierarchy1"/>
    <dgm:cxn modelId="{B210D1A0-F1BC-4E88-BA4C-A4B635AB0DE5}" type="presParOf" srcId="{51F025AD-8661-4DBA-A1B2-D03B19E15BF3}" destId="{AEDBBE35-E29E-4C70-BFBE-23D1EE7DB034}" srcOrd="1" destOrd="0" presId="urn:microsoft.com/office/officeart/2005/8/layout/hierarchy1"/>
    <dgm:cxn modelId="{D0437C07-739C-4E6E-B2B9-016952191276}" type="presParOf" srcId="{6CDB4CB2-09EA-4213-AAD3-6638BE79D910}" destId="{CE3ADDDD-1CD8-4A9B-BB27-9C1474C482AA}" srcOrd="1" destOrd="0" presId="urn:microsoft.com/office/officeart/2005/8/layout/hierarchy1"/>
    <dgm:cxn modelId="{6C09FD26-A7DA-498F-93E6-8C012F37619D}" type="presParOf" srcId="{16350F5D-51E8-4C4F-AA61-344A3A9B3C65}" destId="{ECFBCC41-9BA6-479C-AC5D-D96CD6CBCCE8}" srcOrd="4" destOrd="0" presId="urn:microsoft.com/office/officeart/2005/8/layout/hierarchy1"/>
    <dgm:cxn modelId="{7D948019-A720-41FD-B77E-6B515281AF2F}" type="presParOf" srcId="{16350F5D-51E8-4C4F-AA61-344A3A9B3C65}" destId="{84489A38-DD8C-415C-BC46-526291A67990}" srcOrd="5" destOrd="0" presId="urn:microsoft.com/office/officeart/2005/8/layout/hierarchy1"/>
    <dgm:cxn modelId="{CDF841AC-DECA-42B9-8DAA-9E93E527EA36}" type="presParOf" srcId="{84489A38-DD8C-415C-BC46-526291A67990}" destId="{F118DB5B-0BE0-42C3-B52F-6DF4C60A1853}" srcOrd="0" destOrd="0" presId="urn:microsoft.com/office/officeart/2005/8/layout/hierarchy1"/>
    <dgm:cxn modelId="{705A568E-7144-4ABF-B93B-FF06AA1C99AD}" type="presParOf" srcId="{F118DB5B-0BE0-42C3-B52F-6DF4C60A1853}" destId="{02A040D4-769F-4A52-AA61-6AA61243D458}" srcOrd="0" destOrd="0" presId="urn:microsoft.com/office/officeart/2005/8/layout/hierarchy1"/>
    <dgm:cxn modelId="{D9E1FC81-FD50-4E19-8BBE-063BB3906FC6}" type="presParOf" srcId="{F118DB5B-0BE0-42C3-B52F-6DF4C60A1853}" destId="{EA90018C-28E1-485C-96F3-DCAEABFC59B1}" srcOrd="1" destOrd="0" presId="urn:microsoft.com/office/officeart/2005/8/layout/hierarchy1"/>
    <dgm:cxn modelId="{94F5D3B2-391C-464B-BAE9-CB39990BCF94}" type="presParOf" srcId="{84489A38-DD8C-415C-BC46-526291A67990}" destId="{12534D47-0A4F-4565-A475-CFDE4092E4C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6A2DC80-E27F-480B-B544-7D018EF64060}" type="doc">
      <dgm:prSet loTypeId="urn:microsoft.com/office/officeart/2005/8/layout/radial3" loCatId="relationship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E8E8B65E-94AA-4AB9-B9C1-AA0296273563}">
      <dgm:prSet phldrT="[Text]"/>
      <dgm:spPr/>
      <dgm:t>
        <a:bodyPr/>
        <a:lstStyle/>
        <a:p>
          <a:r>
            <a:rPr lang="en-GB" dirty="0">
              <a:latin typeface="Arial" panose="020B0604020202020204" pitchFamily="34" charset="0"/>
              <a:cs typeface="Arial" panose="020B0604020202020204" pitchFamily="34" charset="0"/>
            </a:rPr>
            <a:t>Moving towards outcomes</a:t>
          </a:r>
          <a:endParaRPr lang="fr-FR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9088EA7-011A-4D61-A375-0A461656134A}" type="parTrans" cxnId="{68ADB151-70FC-4FED-816C-7F8533E2F970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5C76C3-20E2-43EE-AAE0-79C5D2B7B15D}" type="sibTrans" cxnId="{68ADB151-70FC-4FED-816C-7F8533E2F970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5CF949-AE63-42AD-B67E-54D0A8950C2D}">
      <dgm:prSet phldrT="[Text]"/>
      <dgm:spPr/>
      <dgm:t>
        <a:bodyPr/>
        <a:lstStyle/>
        <a:p>
          <a:r>
            <a:rPr lang="fr-CA" b="1" dirty="0" err="1">
              <a:latin typeface="Arial" panose="020B0604020202020204" pitchFamily="34" charset="0"/>
              <a:cs typeface="Arial" panose="020B0604020202020204" pitchFamily="34" charset="0"/>
            </a:rPr>
            <a:t>Systematic</a:t>
          </a:r>
          <a:r>
            <a:rPr lang="fr-CA" b="1" dirty="0">
              <a:latin typeface="Arial" panose="020B0604020202020204" pitchFamily="34" charset="0"/>
              <a:cs typeface="Arial" panose="020B0604020202020204" pitchFamily="34" charset="0"/>
            </a:rPr>
            <a:t> data management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A57BED-16D0-44F7-90A1-DAF8B76E54E3}" type="parTrans" cxnId="{AA3A29C6-B282-4A72-A04E-46AEB3E93E8E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006621-AD13-493F-8AB6-864D998AC3AD}" type="sibTrans" cxnId="{AA3A29C6-B282-4A72-A04E-46AEB3E93E8E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E287C5E-8BC4-4909-8825-2461ED48EA8C}">
      <dgm:prSet phldrT="[Text]"/>
      <dgm:spPr/>
      <dgm:t>
        <a:bodyPr/>
        <a:lstStyle/>
        <a:p>
          <a:r>
            <a:rPr lang="en-GB" b="1" dirty="0">
              <a:latin typeface="Arial" panose="020B0604020202020204" pitchFamily="34" charset="0"/>
              <a:cs typeface="Arial" panose="020B0604020202020204" pitchFamily="34" charset="0"/>
            </a:rPr>
            <a:t>More data-driven planning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1D6AC85-E56F-43FF-A860-47090412E82B}" type="parTrans" cxnId="{88E48C6F-A844-4175-8FE7-4C4164884F3A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3F7BD1-0D9F-488B-A64C-D85D5D202A02}" type="sibTrans" cxnId="{88E48C6F-A844-4175-8FE7-4C4164884F3A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A7F834-53E4-485E-BFA3-5319EA1F1BBE}">
      <dgm:prSet phldrT="[Text]"/>
      <dgm:spPr/>
      <dgm:t>
        <a:bodyPr/>
        <a:lstStyle/>
        <a:p>
          <a:r>
            <a:rPr lang="fr-CA" b="1" dirty="0">
              <a:latin typeface="Arial" panose="020B0604020202020204" pitchFamily="34" charset="0"/>
              <a:cs typeface="Arial" panose="020B0604020202020204" pitchFamily="34" charset="0"/>
            </a:rPr>
            <a:t>Risk-</a:t>
          </a:r>
          <a:r>
            <a:rPr lang="fr-CA" b="1" dirty="0" err="1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fr-CA" b="1" dirty="0">
              <a:latin typeface="Arial" panose="020B0604020202020204" pitchFamily="34" charset="0"/>
              <a:cs typeface="Arial" panose="020B0604020202020204" pitchFamily="34" charset="0"/>
            </a:rPr>
            <a:t> management of complaints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C2D640B-7502-491D-B20B-F7CFB49E4541}" type="parTrans" cxnId="{B338FF50-DCF0-4455-9A75-9C037830DC3C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8EFF4D-4D38-4A55-AFFD-8F98C721FB12}" type="sibTrans" cxnId="{B338FF50-DCF0-4455-9A75-9C037830DC3C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1D7C6C9-90C4-4C96-807A-58918D1CBA99}">
      <dgm:prSet phldrT="[Text]"/>
      <dgm:spPr/>
      <dgm:t>
        <a:bodyPr/>
        <a:lstStyle/>
        <a:p>
          <a:r>
            <a:rPr lang="fr-CA" b="1" dirty="0" err="1">
              <a:latin typeface="Arial" panose="020B0604020202020204" pitchFamily="34" charset="0"/>
              <a:cs typeface="Arial" panose="020B0604020202020204" pitchFamily="34" charset="0"/>
            </a:rPr>
            <a:t>Enforcement</a:t>
          </a:r>
          <a:r>
            <a:rPr lang="fr-CA" b="1" dirty="0">
              <a:latin typeface="Arial" panose="020B0604020202020204" pitchFamily="34" charset="0"/>
              <a:cs typeface="Arial" panose="020B0604020202020204" pitchFamily="34" charset="0"/>
            </a:rPr>
            <a:t> Management Mode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0C37CF-9DA6-45EA-9F77-F3D03A8EA283}" type="parTrans" cxnId="{7FE082FC-324E-455F-B840-FE9B457FE8E3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62528B-23E5-4B12-ACD5-74002732E721}" type="sibTrans" cxnId="{7FE082FC-324E-455F-B840-FE9B457FE8E3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92547D-825D-47C7-8EA0-2D625F1F95C6}">
      <dgm:prSet phldrT="[Text]"/>
      <dgm:spPr/>
      <dgm:t>
        <a:bodyPr/>
        <a:lstStyle/>
        <a:p>
          <a:r>
            <a:rPr lang="en-GB" b="1" dirty="0">
              <a:latin typeface="Arial" panose="020B0604020202020204" pitchFamily="34" charset="0"/>
              <a:cs typeface="Arial" panose="020B0604020202020204" pitchFamily="34" charset="0"/>
            </a:rPr>
            <a:t>Hands-on guidance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D16857-A5FD-4091-9B9E-62C0311B3113}" type="parTrans" cxnId="{854A6AA8-10B0-4FD7-84D4-45F8CB1834DC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D81ABC-339C-4359-8730-54134919E645}" type="sibTrans" cxnId="{854A6AA8-10B0-4FD7-84D4-45F8CB1834DC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A20BD3-5543-419E-816F-0090098D409F}">
      <dgm:prSet phldrT="[Text]"/>
      <dgm:spPr/>
      <dgm:t>
        <a:bodyPr/>
        <a:lstStyle/>
        <a:p>
          <a:r>
            <a:rPr lang="fr-CA" b="1" dirty="0">
              <a:latin typeface="Arial" panose="020B0604020202020204" pitchFamily="34" charset="0"/>
              <a:cs typeface="Arial" panose="020B0604020202020204" pitchFamily="34" charset="0"/>
            </a:rPr>
            <a:t>Effective inspections</a:t>
          </a:r>
          <a:r>
            <a:rPr lang="en-GB" b="1" dirty="0">
              <a:latin typeface="Arial" panose="020B0604020202020204" pitchFamily="34" charset="0"/>
              <a:cs typeface="Arial" panose="020B0604020202020204" pitchFamily="34" charset="0"/>
            </a:rPr>
            <a:t> outcomes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A2860BF-7327-48DB-93D8-02ABCB99ACB6}" type="parTrans" cxnId="{20D06373-E1A7-4A08-BBEA-3B3FDB83A9ED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B488E5-C2E9-4A8F-A59A-298BFAA7ACAD}" type="sibTrans" cxnId="{20D06373-E1A7-4A08-BBEA-3B3FDB83A9ED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BE0CDDE-2B72-4155-979A-342C8257F444}">
      <dgm:prSet phldrT="[Text]"/>
      <dgm:spPr/>
      <dgm:t>
        <a:bodyPr/>
        <a:lstStyle/>
        <a:p>
          <a:r>
            <a:rPr lang="en-GB" b="1" dirty="0">
              <a:latin typeface="Arial" panose="020B0604020202020204" pitchFamily="34" charset="0"/>
              <a:cs typeface="Arial" panose="020B0604020202020204" pitchFamily="34" charset="0"/>
            </a:rPr>
            <a:t>Map systems</a:t>
          </a:r>
          <a:endParaRPr lang="fr-FR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4CEE33-BC76-45D8-9844-F12B9FD471C0}" type="parTrans" cxnId="{9101B5BD-625F-4516-8B80-2C7AF56F8381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21C4CE3-9EC5-4B5D-97CB-6E51CF2B54D1}" type="sibTrans" cxnId="{9101B5BD-625F-4516-8B80-2C7AF56F8381}">
      <dgm:prSet/>
      <dgm:spPr/>
      <dgm:t>
        <a:bodyPr/>
        <a:lstStyle/>
        <a:p>
          <a:endParaRPr lang="fr-FR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60148F6-76D5-7F4C-96D5-5ED69645C6B1}" type="pres">
      <dgm:prSet presAssocID="{46A2DC80-E27F-480B-B544-7D018EF64060}" presName="composite" presStyleCnt="0">
        <dgm:presLayoutVars>
          <dgm:chMax val="1"/>
          <dgm:dir/>
          <dgm:resizeHandles val="exact"/>
        </dgm:presLayoutVars>
      </dgm:prSet>
      <dgm:spPr/>
    </dgm:pt>
    <dgm:pt modelId="{BB768EB9-BB5A-7749-9EF0-C928C6BAA2D0}" type="pres">
      <dgm:prSet presAssocID="{46A2DC80-E27F-480B-B544-7D018EF64060}" presName="radial" presStyleCnt="0">
        <dgm:presLayoutVars>
          <dgm:animLvl val="ctr"/>
        </dgm:presLayoutVars>
      </dgm:prSet>
      <dgm:spPr/>
    </dgm:pt>
    <dgm:pt modelId="{16675C08-C897-9143-8066-CA6724E320A5}" type="pres">
      <dgm:prSet presAssocID="{E8E8B65E-94AA-4AB9-B9C1-AA0296273563}" presName="centerShape" presStyleLbl="vennNode1" presStyleIdx="0" presStyleCnt="8"/>
      <dgm:spPr/>
    </dgm:pt>
    <dgm:pt modelId="{9759072B-2213-F14B-A323-79F4FCAA6608}" type="pres">
      <dgm:prSet presAssocID="{D75CF949-AE63-42AD-B67E-54D0A8950C2D}" presName="node" presStyleLbl="vennNode1" presStyleIdx="1" presStyleCnt="8">
        <dgm:presLayoutVars>
          <dgm:bulletEnabled val="1"/>
        </dgm:presLayoutVars>
      </dgm:prSet>
      <dgm:spPr/>
    </dgm:pt>
    <dgm:pt modelId="{FD627BA4-BB86-5549-B654-C3719A6F0DC7}" type="pres">
      <dgm:prSet presAssocID="{AE287C5E-8BC4-4909-8825-2461ED48EA8C}" presName="node" presStyleLbl="vennNode1" presStyleIdx="2" presStyleCnt="8">
        <dgm:presLayoutVars>
          <dgm:bulletEnabled val="1"/>
        </dgm:presLayoutVars>
      </dgm:prSet>
      <dgm:spPr/>
    </dgm:pt>
    <dgm:pt modelId="{AF60A1C9-DD54-C44A-9F3C-3219D0D57002}" type="pres">
      <dgm:prSet presAssocID="{A4A7F834-53E4-485E-BFA3-5319EA1F1BBE}" presName="node" presStyleLbl="vennNode1" presStyleIdx="3" presStyleCnt="8">
        <dgm:presLayoutVars>
          <dgm:bulletEnabled val="1"/>
        </dgm:presLayoutVars>
      </dgm:prSet>
      <dgm:spPr/>
    </dgm:pt>
    <dgm:pt modelId="{E7479828-424E-8D47-8DDF-3EDBEE06B495}" type="pres">
      <dgm:prSet presAssocID="{01D7C6C9-90C4-4C96-807A-58918D1CBA99}" presName="node" presStyleLbl="vennNode1" presStyleIdx="4" presStyleCnt="8">
        <dgm:presLayoutVars>
          <dgm:bulletEnabled val="1"/>
        </dgm:presLayoutVars>
      </dgm:prSet>
      <dgm:spPr/>
    </dgm:pt>
    <dgm:pt modelId="{DD68E1DF-ECD9-2944-BC12-C7DE6B46CCEF}" type="pres">
      <dgm:prSet presAssocID="{7B92547D-825D-47C7-8EA0-2D625F1F95C6}" presName="node" presStyleLbl="vennNode1" presStyleIdx="5" presStyleCnt="8">
        <dgm:presLayoutVars>
          <dgm:bulletEnabled val="1"/>
        </dgm:presLayoutVars>
      </dgm:prSet>
      <dgm:spPr/>
    </dgm:pt>
    <dgm:pt modelId="{27B42DF3-C855-5B43-A71E-DEF6A8BC2B8E}" type="pres">
      <dgm:prSet presAssocID="{1BA20BD3-5543-419E-816F-0090098D409F}" presName="node" presStyleLbl="vennNode1" presStyleIdx="6" presStyleCnt="8">
        <dgm:presLayoutVars>
          <dgm:bulletEnabled val="1"/>
        </dgm:presLayoutVars>
      </dgm:prSet>
      <dgm:spPr/>
    </dgm:pt>
    <dgm:pt modelId="{4F39DE95-91F7-C04C-A9A8-6C60BABD995A}" type="pres">
      <dgm:prSet presAssocID="{3BE0CDDE-2B72-4155-979A-342C8257F444}" presName="node" presStyleLbl="vennNode1" presStyleIdx="7" presStyleCnt="8">
        <dgm:presLayoutVars>
          <dgm:bulletEnabled val="1"/>
        </dgm:presLayoutVars>
      </dgm:prSet>
      <dgm:spPr/>
    </dgm:pt>
  </dgm:ptLst>
  <dgm:cxnLst>
    <dgm:cxn modelId="{9DF9D302-1A26-A84B-A169-7F7E976656C4}" type="presOf" srcId="{E8E8B65E-94AA-4AB9-B9C1-AA0296273563}" destId="{16675C08-C897-9143-8066-CA6724E320A5}" srcOrd="0" destOrd="0" presId="urn:microsoft.com/office/officeart/2005/8/layout/radial3"/>
    <dgm:cxn modelId="{27391126-FBCF-E943-B003-99C7B24EDE89}" type="presOf" srcId="{7B92547D-825D-47C7-8EA0-2D625F1F95C6}" destId="{DD68E1DF-ECD9-2944-BC12-C7DE6B46CCEF}" srcOrd="0" destOrd="0" presId="urn:microsoft.com/office/officeart/2005/8/layout/radial3"/>
    <dgm:cxn modelId="{C1DA8A62-5B6D-EE47-968B-8BA822FFD062}" type="presOf" srcId="{AE287C5E-8BC4-4909-8825-2461ED48EA8C}" destId="{FD627BA4-BB86-5549-B654-C3719A6F0DC7}" srcOrd="0" destOrd="0" presId="urn:microsoft.com/office/officeart/2005/8/layout/radial3"/>
    <dgm:cxn modelId="{B6620266-D890-2F40-AFC6-7446B784407A}" type="presOf" srcId="{01D7C6C9-90C4-4C96-807A-58918D1CBA99}" destId="{E7479828-424E-8D47-8DDF-3EDBEE06B495}" srcOrd="0" destOrd="0" presId="urn:microsoft.com/office/officeart/2005/8/layout/radial3"/>
    <dgm:cxn modelId="{88E48C6F-A844-4175-8FE7-4C4164884F3A}" srcId="{E8E8B65E-94AA-4AB9-B9C1-AA0296273563}" destId="{AE287C5E-8BC4-4909-8825-2461ED48EA8C}" srcOrd="1" destOrd="0" parTransId="{C1D6AC85-E56F-43FF-A860-47090412E82B}" sibTransId="{EB3F7BD1-0D9F-488B-A64C-D85D5D202A02}"/>
    <dgm:cxn modelId="{B338FF50-DCF0-4455-9A75-9C037830DC3C}" srcId="{E8E8B65E-94AA-4AB9-B9C1-AA0296273563}" destId="{A4A7F834-53E4-485E-BFA3-5319EA1F1BBE}" srcOrd="2" destOrd="0" parTransId="{4C2D640B-7502-491D-B20B-F7CFB49E4541}" sibTransId="{218EFF4D-4D38-4A55-AFFD-8F98C721FB12}"/>
    <dgm:cxn modelId="{68ADB151-70FC-4FED-816C-7F8533E2F970}" srcId="{46A2DC80-E27F-480B-B544-7D018EF64060}" destId="{E8E8B65E-94AA-4AB9-B9C1-AA0296273563}" srcOrd="0" destOrd="0" parTransId="{B9088EA7-011A-4D61-A375-0A461656134A}" sibTransId="{955C76C3-20E2-43EE-AAE0-79C5D2B7B15D}"/>
    <dgm:cxn modelId="{20D06373-E1A7-4A08-BBEA-3B3FDB83A9ED}" srcId="{E8E8B65E-94AA-4AB9-B9C1-AA0296273563}" destId="{1BA20BD3-5543-419E-816F-0090098D409F}" srcOrd="5" destOrd="0" parTransId="{DA2860BF-7327-48DB-93D8-02ABCB99ACB6}" sibTransId="{36B488E5-C2E9-4A8F-A59A-298BFAA7ACAD}"/>
    <dgm:cxn modelId="{2B563191-EE1E-9346-A7DB-ACA908F499F6}" type="presOf" srcId="{D75CF949-AE63-42AD-B67E-54D0A8950C2D}" destId="{9759072B-2213-F14B-A323-79F4FCAA6608}" srcOrd="0" destOrd="0" presId="urn:microsoft.com/office/officeart/2005/8/layout/radial3"/>
    <dgm:cxn modelId="{854A6AA8-10B0-4FD7-84D4-45F8CB1834DC}" srcId="{E8E8B65E-94AA-4AB9-B9C1-AA0296273563}" destId="{7B92547D-825D-47C7-8EA0-2D625F1F95C6}" srcOrd="4" destOrd="0" parTransId="{74D16857-A5FD-4091-9B9E-62C0311B3113}" sibTransId="{B5D81ABC-339C-4359-8730-54134919E645}"/>
    <dgm:cxn modelId="{F5F469BC-B84C-754F-9B7D-E9F77AD81751}" type="presOf" srcId="{46A2DC80-E27F-480B-B544-7D018EF64060}" destId="{460148F6-76D5-7F4C-96D5-5ED69645C6B1}" srcOrd="0" destOrd="0" presId="urn:microsoft.com/office/officeart/2005/8/layout/radial3"/>
    <dgm:cxn modelId="{9101B5BD-625F-4516-8B80-2C7AF56F8381}" srcId="{E8E8B65E-94AA-4AB9-B9C1-AA0296273563}" destId="{3BE0CDDE-2B72-4155-979A-342C8257F444}" srcOrd="6" destOrd="0" parTransId="{D14CEE33-BC76-45D8-9844-F12B9FD471C0}" sibTransId="{021C4CE3-9EC5-4B5D-97CB-6E51CF2B54D1}"/>
    <dgm:cxn modelId="{14C5A4BF-2BAD-C445-B453-EC22EF519A3B}" type="presOf" srcId="{3BE0CDDE-2B72-4155-979A-342C8257F444}" destId="{4F39DE95-91F7-C04C-A9A8-6C60BABD995A}" srcOrd="0" destOrd="0" presId="urn:microsoft.com/office/officeart/2005/8/layout/radial3"/>
    <dgm:cxn modelId="{AA3A29C6-B282-4A72-A04E-46AEB3E93E8E}" srcId="{E8E8B65E-94AA-4AB9-B9C1-AA0296273563}" destId="{D75CF949-AE63-42AD-B67E-54D0A8950C2D}" srcOrd="0" destOrd="0" parTransId="{2BA57BED-16D0-44F7-90A1-DAF8B76E54E3}" sibTransId="{FD006621-AD13-493F-8AB6-864D998AC3AD}"/>
    <dgm:cxn modelId="{9215C7CF-2000-3946-BC30-8CD530F65E98}" type="presOf" srcId="{1BA20BD3-5543-419E-816F-0090098D409F}" destId="{27B42DF3-C855-5B43-A71E-DEF6A8BC2B8E}" srcOrd="0" destOrd="0" presId="urn:microsoft.com/office/officeart/2005/8/layout/radial3"/>
    <dgm:cxn modelId="{7FE082FC-324E-455F-B840-FE9B457FE8E3}" srcId="{E8E8B65E-94AA-4AB9-B9C1-AA0296273563}" destId="{01D7C6C9-90C4-4C96-807A-58918D1CBA99}" srcOrd="3" destOrd="0" parTransId="{F10C37CF-9DA6-45EA-9F77-F3D03A8EA283}" sibTransId="{8E62528B-23E5-4B12-ACD5-74002732E721}"/>
    <dgm:cxn modelId="{426673FE-B59C-FF48-B4F0-872DA5D9F0E3}" type="presOf" srcId="{A4A7F834-53E4-485E-BFA3-5319EA1F1BBE}" destId="{AF60A1C9-DD54-C44A-9F3C-3219D0D57002}" srcOrd="0" destOrd="0" presId="urn:microsoft.com/office/officeart/2005/8/layout/radial3"/>
    <dgm:cxn modelId="{E8FB98AC-1011-3A44-A2AE-89EAC908A7A1}" type="presParOf" srcId="{460148F6-76D5-7F4C-96D5-5ED69645C6B1}" destId="{BB768EB9-BB5A-7749-9EF0-C928C6BAA2D0}" srcOrd="0" destOrd="0" presId="urn:microsoft.com/office/officeart/2005/8/layout/radial3"/>
    <dgm:cxn modelId="{4990F391-BE52-9B48-89CC-D22992CEE6EE}" type="presParOf" srcId="{BB768EB9-BB5A-7749-9EF0-C928C6BAA2D0}" destId="{16675C08-C897-9143-8066-CA6724E320A5}" srcOrd="0" destOrd="0" presId="urn:microsoft.com/office/officeart/2005/8/layout/radial3"/>
    <dgm:cxn modelId="{050AE597-C1DB-2F41-847D-0F6BFD4824FE}" type="presParOf" srcId="{BB768EB9-BB5A-7749-9EF0-C928C6BAA2D0}" destId="{9759072B-2213-F14B-A323-79F4FCAA6608}" srcOrd="1" destOrd="0" presId="urn:microsoft.com/office/officeart/2005/8/layout/radial3"/>
    <dgm:cxn modelId="{FEB264E7-FAFE-2546-9934-CD32F25B1FB3}" type="presParOf" srcId="{BB768EB9-BB5A-7749-9EF0-C928C6BAA2D0}" destId="{FD627BA4-BB86-5549-B654-C3719A6F0DC7}" srcOrd="2" destOrd="0" presId="urn:microsoft.com/office/officeart/2005/8/layout/radial3"/>
    <dgm:cxn modelId="{813A7FDA-CE78-5E40-A1EE-8387AEF2AB7B}" type="presParOf" srcId="{BB768EB9-BB5A-7749-9EF0-C928C6BAA2D0}" destId="{AF60A1C9-DD54-C44A-9F3C-3219D0D57002}" srcOrd="3" destOrd="0" presId="urn:microsoft.com/office/officeart/2005/8/layout/radial3"/>
    <dgm:cxn modelId="{64291AF7-6259-D240-897B-D9827C971B39}" type="presParOf" srcId="{BB768EB9-BB5A-7749-9EF0-C928C6BAA2D0}" destId="{E7479828-424E-8D47-8DDF-3EDBEE06B495}" srcOrd="4" destOrd="0" presId="urn:microsoft.com/office/officeart/2005/8/layout/radial3"/>
    <dgm:cxn modelId="{0BBA1739-0120-F647-A96F-4F106584880D}" type="presParOf" srcId="{BB768EB9-BB5A-7749-9EF0-C928C6BAA2D0}" destId="{DD68E1DF-ECD9-2944-BC12-C7DE6B46CCEF}" srcOrd="5" destOrd="0" presId="urn:microsoft.com/office/officeart/2005/8/layout/radial3"/>
    <dgm:cxn modelId="{7C5CCF22-5EB2-F64D-AB25-A8EADCD5131D}" type="presParOf" srcId="{BB768EB9-BB5A-7749-9EF0-C928C6BAA2D0}" destId="{27B42DF3-C855-5B43-A71E-DEF6A8BC2B8E}" srcOrd="6" destOrd="0" presId="urn:microsoft.com/office/officeart/2005/8/layout/radial3"/>
    <dgm:cxn modelId="{5C300F95-AC77-214F-A47B-0A9B73A3E550}" type="presParOf" srcId="{BB768EB9-BB5A-7749-9EF0-C928C6BAA2D0}" destId="{4F39DE95-91F7-C04C-A9A8-6C60BABD995A}" srcOrd="7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4055EF-1E56-49EC-803E-6174489A8C11}">
      <dsp:nvSpPr>
        <dsp:cNvPr id="0" name=""/>
        <dsp:cNvSpPr/>
      </dsp:nvSpPr>
      <dsp:spPr>
        <a:xfrm>
          <a:off x="3298947" y="2473231"/>
          <a:ext cx="3022838" cy="3022838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kern="1200" dirty="0"/>
            <a:t>Formalistic, Procedures-focused regulation</a:t>
          </a:r>
          <a:endParaRPr lang="fr-FR" sz="2000" b="1" kern="1200" dirty="0"/>
        </a:p>
      </dsp:txBody>
      <dsp:txXfrm>
        <a:off x="3906672" y="3181316"/>
        <a:ext cx="1807388" cy="1553802"/>
      </dsp:txXfrm>
    </dsp:sp>
    <dsp:sp modelId="{CC322E3A-BFA3-4C85-9762-B90AB83032D2}">
      <dsp:nvSpPr>
        <dsp:cNvPr id="0" name=""/>
        <dsp:cNvSpPr/>
      </dsp:nvSpPr>
      <dsp:spPr>
        <a:xfrm>
          <a:off x="1540205" y="1758742"/>
          <a:ext cx="2198428" cy="2198428"/>
        </a:xfrm>
        <a:prstGeom prst="gear6">
          <a:avLst/>
        </a:prstGeom>
        <a:solidFill>
          <a:schemeClr val="accent2">
            <a:hueOff val="19519"/>
            <a:satOff val="-13438"/>
            <a:lumOff val="-3431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Ineffective to protect  vulnerable</a:t>
          </a:r>
          <a:endParaRPr lang="fr-FR" sz="1800" b="1" kern="1200" dirty="0"/>
        </a:p>
      </dsp:txBody>
      <dsp:txXfrm>
        <a:off x="2093666" y="2315548"/>
        <a:ext cx="1091506" cy="1084816"/>
      </dsp:txXfrm>
    </dsp:sp>
    <dsp:sp modelId="{F09DA979-7A02-413E-A066-80FEFCAA112B}">
      <dsp:nvSpPr>
        <dsp:cNvPr id="0" name=""/>
        <dsp:cNvSpPr/>
      </dsp:nvSpPr>
      <dsp:spPr>
        <a:xfrm rot="20700000">
          <a:off x="2771549" y="242051"/>
          <a:ext cx="2154010" cy="2154010"/>
        </a:xfrm>
        <a:prstGeom prst="gear6">
          <a:avLst/>
        </a:prstGeom>
        <a:solidFill>
          <a:schemeClr val="accent2">
            <a:hueOff val="39038"/>
            <a:satOff val="-26876"/>
            <a:lumOff val="-686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Barriers for ‘less formal’ providers</a:t>
          </a:r>
          <a:endParaRPr lang="fr-FR" sz="1800" b="1" kern="1200" dirty="0"/>
        </a:p>
      </dsp:txBody>
      <dsp:txXfrm rot="-20700000">
        <a:off x="3243986" y="714489"/>
        <a:ext cx="1209135" cy="1209135"/>
      </dsp:txXfrm>
    </dsp:sp>
    <dsp:sp modelId="{2808DD42-A8B2-4CFE-9F51-D9E6E0BF868B}">
      <dsp:nvSpPr>
        <dsp:cNvPr id="0" name=""/>
        <dsp:cNvSpPr/>
      </dsp:nvSpPr>
      <dsp:spPr>
        <a:xfrm>
          <a:off x="3081063" y="2008766"/>
          <a:ext cx="3869233" cy="3869233"/>
        </a:xfrm>
        <a:prstGeom prst="circularArrow">
          <a:avLst>
            <a:gd name="adj1" fmla="val 4688"/>
            <a:gd name="adj2" fmla="val 299029"/>
            <a:gd name="adj3" fmla="val 2540442"/>
            <a:gd name="adj4" fmla="val 15809937"/>
            <a:gd name="adj5" fmla="val 546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391FB69-8C49-4B2D-85E3-8C519AB15722}">
      <dsp:nvSpPr>
        <dsp:cNvPr id="0" name=""/>
        <dsp:cNvSpPr/>
      </dsp:nvSpPr>
      <dsp:spPr>
        <a:xfrm>
          <a:off x="1150867" y="1266726"/>
          <a:ext cx="2811239" cy="2811239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hueOff val="19519"/>
            <a:satOff val="-13438"/>
            <a:lumOff val="-343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4327C2-6028-410C-B477-CE34E98E35EA}">
      <dsp:nvSpPr>
        <dsp:cNvPr id="0" name=""/>
        <dsp:cNvSpPr/>
      </dsp:nvSpPr>
      <dsp:spPr>
        <a:xfrm>
          <a:off x="2273304" y="-235344"/>
          <a:ext cx="3031082" cy="3031082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2">
            <a:hueOff val="39038"/>
            <a:satOff val="-26876"/>
            <a:lumOff val="-686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E261EF-FEE3-F742-8475-6C6CC0FB090A}">
      <dsp:nvSpPr>
        <dsp:cNvPr id="0" name=""/>
        <dsp:cNvSpPr/>
      </dsp:nvSpPr>
      <dsp:spPr>
        <a:xfrm>
          <a:off x="815431" y="0"/>
          <a:ext cx="9241552" cy="4469040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080B87-DE18-334E-820F-88F058CD7CE4}">
      <dsp:nvSpPr>
        <dsp:cNvPr id="0" name=""/>
        <dsp:cNvSpPr/>
      </dsp:nvSpPr>
      <dsp:spPr>
        <a:xfrm>
          <a:off x="132" y="1340711"/>
          <a:ext cx="5303487" cy="178761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200" kern="1200" dirty="0">
              <a:latin typeface="Montserrat" panose="00000500000000000000" pitchFamily="2" charset="0"/>
            </a:rPr>
            <a:t>Formalistic, heavy licensing etc.</a:t>
          </a:r>
          <a:endParaRPr lang="fr-FR" sz="4200" kern="1200" dirty="0">
            <a:latin typeface="Montserrat" panose="00000500000000000000" pitchFamily="2" charset="0"/>
          </a:endParaRPr>
        </a:p>
      </dsp:txBody>
      <dsp:txXfrm>
        <a:off x="87396" y="1427975"/>
        <a:ext cx="5128959" cy="1613088"/>
      </dsp:txXfrm>
    </dsp:sp>
    <dsp:sp modelId="{4F5325D0-B465-6548-968A-5BB285EB244E}">
      <dsp:nvSpPr>
        <dsp:cNvPr id="0" name=""/>
        <dsp:cNvSpPr/>
      </dsp:nvSpPr>
      <dsp:spPr>
        <a:xfrm>
          <a:off x="5568794" y="1340711"/>
          <a:ext cx="5303487" cy="178761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marL="0" lvl="0" indent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200" kern="1200" dirty="0">
              <a:latin typeface="Montserrat" panose="00000500000000000000" pitchFamily="2" charset="0"/>
            </a:rPr>
            <a:t>Focus on process, not outcomes!</a:t>
          </a:r>
          <a:endParaRPr lang="fr-FR" sz="4200" kern="1200" dirty="0">
            <a:latin typeface="Montserrat" panose="00000500000000000000" pitchFamily="2" charset="0"/>
          </a:endParaRPr>
        </a:p>
      </dsp:txBody>
      <dsp:txXfrm>
        <a:off x="5656058" y="1427975"/>
        <a:ext cx="5128959" cy="16130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217278-E818-4615-B5F5-A606A3A48DAE}">
      <dsp:nvSpPr>
        <dsp:cNvPr id="0" name=""/>
        <dsp:cNvSpPr/>
      </dsp:nvSpPr>
      <dsp:spPr>
        <a:xfrm>
          <a:off x="1120022" y="273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i="1" kern="1200" dirty="0"/>
            <a:t>Ex ante </a:t>
          </a:r>
          <a:r>
            <a:rPr lang="en-GB" sz="2300" i="0" kern="1200" dirty="0"/>
            <a:t>controls</a:t>
          </a:r>
          <a:endParaRPr lang="fr-FR" sz="2300" i="1" kern="1200" dirty="0"/>
        </a:p>
      </dsp:txBody>
      <dsp:txXfrm>
        <a:off x="1161858" y="42109"/>
        <a:ext cx="2296957" cy="1344705"/>
      </dsp:txXfrm>
    </dsp:sp>
    <dsp:sp modelId="{B045A628-C138-44B7-BA67-C6EF2C675381}">
      <dsp:nvSpPr>
        <dsp:cNvPr id="0" name=""/>
        <dsp:cNvSpPr/>
      </dsp:nvSpPr>
      <dsp:spPr>
        <a:xfrm>
          <a:off x="3710147" y="419264"/>
          <a:ext cx="504693" cy="5903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>
        <a:off x="3710147" y="537343"/>
        <a:ext cx="353285" cy="354238"/>
      </dsp:txXfrm>
    </dsp:sp>
    <dsp:sp modelId="{21C2198D-A19E-4598-8080-E110D52CA372}">
      <dsp:nvSpPr>
        <dsp:cNvPr id="0" name=""/>
        <dsp:cNvSpPr/>
      </dsp:nvSpPr>
      <dsp:spPr>
        <a:xfrm>
          <a:off x="4452903" y="273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239601"/>
            <a:satOff val="-1451"/>
            <a:lumOff val="172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Formal checks</a:t>
          </a:r>
          <a:endParaRPr lang="fr-FR" sz="2300" kern="1200" dirty="0"/>
        </a:p>
      </dsp:txBody>
      <dsp:txXfrm>
        <a:off x="4494739" y="42109"/>
        <a:ext cx="2296957" cy="1344705"/>
      </dsp:txXfrm>
    </dsp:sp>
    <dsp:sp modelId="{DE5F5156-77B5-4F9F-8176-4EA5C2710D5F}">
      <dsp:nvSpPr>
        <dsp:cNvPr id="0" name=""/>
        <dsp:cNvSpPr/>
      </dsp:nvSpPr>
      <dsp:spPr>
        <a:xfrm rot="5400000">
          <a:off x="5390872" y="1595295"/>
          <a:ext cx="504693" cy="5903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299501"/>
            <a:satOff val="-1814"/>
            <a:lumOff val="21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 rot="-5400000">
        <a:off x="5466100" y="1638146"/>
        <a:ext cx="354238" cy="353285"/>
      </dsp:txXfrm>
    </dsp:sp>
    <dsp:sp modelId="{385610EB-2BF0-44FD-899C-EF02548BDAD5}">
      <dsp:nvSpPr>
        <dsp:cNvPr id="0" name=""/>
        <dsp:cNvSpPr/>
      </dsp:nvSpPr>
      <dsp:spPr>
        <a:xfrm>
          <a:off x="4452903" y="2380903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479202"/>
            <a:satOff val="-2902"/>
            <a:lumOff val="3451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1.Credentials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2.Processes</a:t>
          </a:r>
          <a:endParaRPr lang="fr-FR" sz="2300" kern="1200" dirty="0"/>
        </a:p>
      </dsp:txBody>
      <dsp:txXfrm>
        <a:off x="4494739" y="2422739"/>
        <a:ext cx="2296957" cy="1344705"/>
      </dsp:txXfrm>
    </dsp:sp>
    <dsp:sp modelId="{898BA90D-4167-4631-9667-58E18EF45696}">
      <dsp:nvSpPr>
        <dsp:cNvPr id="0" name=""/>
        <dsp:cNvSpPr/>
      </dsp:nvSpPr>
      <dsp:spPr>
        <a:xfrm rot="10800000">
          <a:off x="3738715" y="2799893"/>
          <a:ext cx="504693" cy="5903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599003"/>
            <a:satOff val="-3627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 rot="10800000">
        <a:off x="3890123" y="2917972"/>
        <a:ext cx="353285" cy="354238"/>
      </dsp:txXfrm>
    </dsp:sp>
    <dsp:sp modelId="{10858A17-348F-4A40-818F-51A1CBFB6BEA}">
      <dsp:nvSpPr>
        <dsp:cNvPr id="0" name=""/>
        <dsp:cNvSpPr/>
      </dsp:nvSpPr>
      <dsp:spPr>
        <a:xfrm>
          <a:off x="1120022" y="2380903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718803"/>
            <a:satOff val="-4353"/>
            <a:lumOff val="517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High barriers to entry</a:t>
          </a:r>
          <a:endParaRPr lang="fr-FR" sz="2300" kern="1200" dirty="0"/>
        </a:p>
      </dsp:txBody>
      <dsp:txXfrm>
        <a:off x="1161858" y="2422739"/>
        <a:ext cx="2296957" cy="1344705"/>
      </dsp:txXfrm>
    </dsp:sp>
    <dsp:sp modelId="{FA8F3A1D-CDBE-414D-BA9B-EA59A896E807}">
      <dsp:nvSpPr>
        <dsp:cNvPr id="0" name=""/>
        <dsp:cNvSpPr/>
      </dsp:nvSpPr>
      <dsp:spPr>
        <a:xfrm rot="5400000">
          <a:off x="2057990" y="3975925"/>
          <a:ext cx="504693" cy="5903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898504"/>
            <a:satOff val="-5441"/>
            <a:lumOff val="647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 rot="-5400000">
        <a:off x="2133218" y="4018776"/>
        <a:ext cx="354238" cy="353285"/>
      </dsp:txXfrm>
    </dsp:sp>
    <dsp:sp modelId="{684F2171-691A-4114-AB4C-87C6EDBA84C1}">
      <dsp:nvSpPr>
        <dsp:cNvPr id="0" name=""/>
        <dsp:cNvSpPr/>
      </dsp:nvSpPr>
      <dsp:spPr>
        <a:xfrm>
          <a:off x="1120022" y="4761532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958404"/>
            <a:satOff val="-5804"/>
            <a:lumOff val="6902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Minority &amp; smaller providers excluded</a:t>
          </a:r>
          <a:endParaRPr lang="fr-FR" sz="2300" kern="1200" dirty="0"/>
        </a:p>
      </dsp:txBody>
      <dsp:txXfrm>
        <a:off x="1161858" y="4803368"/>
        <a:ext cx="2296957" cy="1344705"/>
      </dsp:txXfrm>
    </dsp:sp>
    <dsp:sp modelId="{B2231D0F-C5ED-4815-A7C2-F06C46A71089}">
      <dsp:nvSpPr>
        <dsp:cNvPr id="0" name=""/>
        <dsp:cNvSpPr/>
      </dsp:nvSpPr>
      <dsp:spPr>
        <a:xfrm>
          <a:off x="3710147" y="5180523"/>
          <a:ext cx="504693" cy="5903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1198005"/>
            <a:satOff val="-7255"/>
            <a:lumOff val="862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>
        <a:off x="3710147" y="5298602"/>
        <a:ext cx="353285" cy="354238"/>
      </dsp:txXfrm>
    </dsp:sp>
    <dsp:sp modelId="{B6E79F4B-84E7-4D04-B28D-385E7264E693}">
      <dsp:nvSpPr>
        <dsp:cNvPr id="0" name=""/>
        <dsp:cNvSpPr/>
      </dsp:nvSpPr>
      <dsp:spPr>
        <a:xfrm>
          <a:off x="4452903" y="4761532"/>
          <a:ext cx="2380629" cy="1428377"/>
        </a:xfrm>
        <a:prstGeom prst="roundRect">
          <a:avLst>
            <a:gd name="adj" fmla="val 10000"/>
          </a:avLst>
        </a:prstGeom>
        <a:solidFill>
          <a:schemeClr val="accent3">
            <a:hueOff val="1198005"/>
            <a:satOff val="-7255"/>
            <a:lumOff val="8627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 dirty="0"/>
            <a:t>Larger firms control the care market</a:t>
          </a:r>
          <a:endParaRPr lang="fr-FR" sz="2300" kern="1200" dirty="0"/>
        </a:p>
      </dsp:txBody>
      <dsp:txXfrm>
        <a:off x="4494739" y="4803368"/>
        <a:ext cx="2296957" cy="134470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5F55CD-60CB-47E7-B4C1-7B46EB6BD9B9}">
      <dsp:nvSpPr>
        <dsp:cNvPr id="0" name=""/>
        <dsp:cNvSpPr/>
      </dsp:nvSpPr>
      <dsp:spPr>
        <a:xfrm>
          <a:off x="3246437" y="534"/>
          <a:ext cx="1635124" cy="163512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kern="1200" dirty="0"/>
            <a:t>Focus on </a:t>
          </a:r>
          <a:r>
            <a:rPr lang="fr-FR" sz="1800" b="1" kern="1200" dirty="0" err="1"/>
            <a:t>formal</a:t>
          </a:r>
          <a:r>
            <a:rPr lang="fr-FR" sz="1800" b="1" kern="1200" dirty="0"/>
            <a:t> aspects</a:t>
          </a:r>
        </a:p>
      </dsp:txBody>
      <dsp:txXfrm>
        <a:off x="3485895" y="239992"/>
        <a:ext cx="1156208" cy="1156208"/>
      </dsp:txXfrm>
    </dsp:sp>
    <dsp:sp modelId="{4A38C41D-E678-46C3-8A4C-9111E629551C}">
      <dsp:nvSpPr>
        <dsp:cNvPr id="0" name=""/>
        <dsp:cNvSpPr/>
      </dsp:nvSpPr>
      <dsp:spPr>
        <a:xfrm rot="2160000">
          <a:off x="4830234" y="1257302"/>
          <a:ext cx="436123" cy="5518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>
        <a:off x="4842728" y="1329221"/>
        <a:ext cx="305286" cy="331112"/>
      </dsp:txXfrm>
    </dsp:sp>
    <dsp:sp modelId="{A998B91F-7654-4EA3-BCB8-A2E56B90CEC9}">
      <dsp:nvSpPr>
        <dsp:cNvPr id="0" name=""/>
        <dsp:cNvSpPr/>
      </dsp:nvSpPr>
      <dsp:spPr>
        <a:xfrm>
          <a:off x="5235001" y="1445310"/>
          <a:ext cx="1635124" cy="1635124"/>
        </a:xfrm>
        <a:prstGeom prst="ellipse">
          <a:avLst/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Heavy </a:t>
          </a:r>
          <a:r>
            <a:rPr lang="en-GB" sz="1800" b="1" i="1" kern="1200" dirty="0"/>
            <a:t>ex ante </a:t>
          </a:r>
          <a:r>
            <a:rPr lang="en-GB" sz="1800" b="1" i="0" kern="1200" dirty="0"/>
            <a:t>checks</a:t>
          </a:r>
          <a:endParaRPr lang="fr-FR" sz="1800" b="1" kern="1200" dirty="0"/>
        </a:p>
      </dsp:txBody>
      <dsp:txXfrm>
        <a:off x="5474459" y="1684768"/>
        <a:ext cx="1156208" cy="1156208"/>
      </dsp:txXfrm>
    </dsp:sp>
    <dsp:sp modelId="{0C5AC0F4-9B77-456F-9CD9-139516E48B23}">
      <dsp:nvSpPr>
        <dsp:cNvPr id="0" name=""/>
        <dsp:cNvSpPr/>
      </dsp:nvSpPr>
      <dsp:spPr>
        <a:xfrm rot="6480000">
          <a:off x="5458534" y="3144055"/>
          <a:ext cx="436123" cy="5518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 rot="10800000">
        <a:off x="5544168" y="3192209"/>
        <a:ext cx="305286" cy="331112"/>
      </dsp:txXfrm>
    </dsp:sp>
    <dsp:sp modelId="{016F70F6-13B5-4D99-8300-E4C8BECE9970}">
      <dsp:nvSpPr>
        <dsp:cNvPr id="0" name=""/>
        <dsp:cNvSpPr/>
      </dsp:nvSpPr>
      <dsp:spPr>
        <a:xfrm>
          <a:off x="4475437" y="3783007"/>
          <a:ext cx="1635124" cy="1635124"/>
        </a:xfrm>
        <a:prstGeom prst="ellipse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Supervision mostly of formal processes</a:t>
          </a:r>
          <a:endParaRPr lang="fr-FR" sz="1800" b="1" kern="1200" dirty="0"/>
        </a:p>
      </dsp:txBody>
      <dsp:txXfrm>
        <a:off x="4714895" y="4022465"/>
        <a:ext cx="1156208" cy="1156208"/>
      </dsp:txXfrm>
    </dsp:sp>
    <dsp:sp modelId="{78A12A7F-3B55-4E29-8E29-3D7C7A632A61}">
      <dsp:nvSpPr>
        <dsp:cNvPr id="0" name=""/>
        <dsp:cNvSpPr/>
      </dsp:nvSpPr>
      <dsp:spPr>
        <a:xfrm rot="10800000">
          <a:off x="3858281" y="4324642"/>
          <a:ext cx="436123" cy="5518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 rot="10800000">
        <a:off x="3989118" y="4435013"/>
        <a:ext cx="305286" cy="331112"/>
      </dsp:txXfrm>
    </dsp:sp>
    <dsp:sp modelId="{4DC18845-C1D3-4BA5-8195-3308DAE10466}">
      <dsp:nvSpPr>
        <dsp:cNvPr id="0" name=""/>
        <dsp:cNvSpPr/>
      </dsp:nvSpPr>
      <dsp:spPr>
        <a:xfrm>
          <a:off x="2017437" y="3783007"/>
          <a:ext cx="1635124" cy="1635124"/>
        </a:xfrm>
        <a:prstGeom prst="ellipse">
          <a:avLst/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No time / resources / methods for “reality checks”</a:t>
          </a:r>
          <a:endParaRPr lang="fr-FR" sz="1800" b="1" kern="1200" dirty="0"/>
        </a:p>
      </dsp:txBody>
      <dsp:txXfrm>
        <a:off x="2256895" y="4022465"/>
        <a:ext cx="1156208" cy="1156208"/>
      </dsp:txXfrm>
    </dsp:sp>
    <dsp:sp modelId="{1D957033-228E-4B07-A322-B84A886D04B9}">
      <dsp:nvSpPr>
        <dsp:cNvPr id="0" name=""/>
        <dsp:cNvSpPr/>
      </dsp:nvSpPr>
      <dsp:spPr>
        <a:xfrm rot="15120000">
          <a:off x="2240970" y="3167533"/>
          <a:ext cx="436123" cy="55185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 rot="10800000">
        <a:off x="2326604" y="3340121"/>
        <a:ext cx="305286" cy="331112"/>
      </dsp:txXfrm>
    </dsp:sp>
    <dsp:sp modelId="{7032F33D-8424-4703-96AC-B6173E4B31AF}">
      <dsp:nvSpPr>
        <dsp:cNvPr id="0" name=""/>
        <dsp:cNvSpPr/>
      </dsp:nvSpPr>
      <dsp:spPr>
        <a:xfrm>
          <a:off x="1257873" y="1445310"/>
          <a:ext cx="1635124" cy="1635124"/>
        </a:xfrm>
        <a:prstGeom prst="ellipse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Bad practices and harm can fester unchecked</a:t>
          </a:r>
          <a:endParaRPr lang="fr-FR" sz="1800" b="1" kern="1200" dirty="0"/>
        </a:p>
      </dsp:txBody>
      <dsp:txXfrm>
        <a:off x="1497331" y="1684768"/>
        <a:ext cx="1156208" cy="1156208"/>
      </dsp:txXfrm>
    </dsp:sp>
    <dsp:sp modelId="{E5E0DA0E-9959-4386-AF05-60B335F16C4F}">
      <dsp:nvSpPr>
        <dsp:cNvPr id="0" name=""/>
        <dsp:cNvSpPr/>
      </dsp:nvSpPr>
      <dsp:spPr>
        <a:xfrm rot="13265131">
          <a:off x="805837" y="1225804"/>
          <a:ext cx="436123" cy="551854"/>
        </a:xfrm>
        <a:prstGeom prst="rightArrow">
          <a:avLst>
            <a:gd name="adj1" fmla="val 60000"/>
            <a:gd name="adj2" fmla="val 50000"/>
          </a:avLst>
        </a:prstGeom>
        <a:pattFill prst="trellis">
          <a:fgClr>
            <a:schemeClr val="accent2">
              <a:hueOff val="-1455363"/>
              <a:satOff val="-83928"/>
              <a:lumOff val="8628"/>
            </a:schemeClr>
          </a:fgClr>
          <a:bgClr>
            <a:schemeClr val="bg1"/>
          </a:bgClr>
        </a:patt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>
        <a:off x="920563" y="1379167"/>
        <a:ext cx="305286" cy="3311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972E96-BBA7-40C4-8D2E-D161EFDBBD18}">
      <dsp:nvSpPr>
        <dsp:cNvPr id="0" name=""/>
        <dsp:cNvSpPr/>
      </dsp:nvSpPr>
      <dsp:spPr>
        <a:xfrm>
          <a:off x="3060621" y="-139599"/>
          <a:ext cx="2006756" cy="199238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Comprehensive data on duty holders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354504" y="152179"/>
        <a:ext cx="1418990" cy="1408827"/>
      </dsp:txXfrm>
    </dsp:sp>
    <dsp:sp modelId="{2256F0BE-F0BD-4D3B-A0A8-8417769492A1}">
      <dsp:nvSpPr>
        <dsp:cNvPr id="0" name=""/>
        <dsp:cNvSpPr/>
      </dsp:nvSpPr>
      <dsp:spPr>
        <a:xfrm rot="2160000">
          <a:off x="4940007" y="1317310"/>
          <a:ext cx="275794" cy="5518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47908" y="1403365"/>
        <a:ext cx="193056" cy="331112"/>
      </dsp:txXfrm>
    </dsp:sp>
    <dsp:sp modelId="{22DA32BA-D1C8-4B40-9530-9240327EC651}">
      <dsp:nvSpPr>
        <dsp:cNvPr id="0" name=""/>
        <dsp:cNvSpPr/>
      </dsp:nvSpPr>
      <dsp:spPr>
        <a:xfrm>
          <a:off x="5106128" y="1382166"/>
          <a:ext cx="1892869" cy="1838403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Risk-Based Planning (activity x track record = risk level)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83332" y="1651394"/>
        <a:ext cx="1338461" cy="1299947"/>
      </dsp:txXfrm>
    </dsp:sp>
    <dsp:sp modelId="{E2A4FB85-B6E5-4584-A4F9-59DCFFD111A3}">
      <dsp:nvSpPr>
        <dsp:cNvPr id="0" name=""/>
        <dsp:cNvSpPr/>
      </dsp:nvSpPr>
      <dsp:spPr>
        <a:xfrm rot="6480000">
          <a:off x="5512762" y="3185521"/>
          <a:ext cx="325736" cy="5518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5576721" y="3249423"/>
        <a:ext cx="228015" cy="331112"/>
      </dsp:txXfrm>
    </dsp:sp>
    <dsp:sp modelId="{F298A5CD-2D77-4A67-A232-C67B3E834404}">
      <dsp:nvSpPr>
        <dsp:cNvPr id="0" name=""/>
        <dsp:cNvSpPr/>
      </dsp:nvSpPr>
      <dsp:spPr>
        <a:xfrm>
          <a:off x="4346564" y="3719862"/>
          <a:ext cx="1892869" cy="1838403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Risk-Based Inspection (focus on practices and critical risk points)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23768" y="3989090"/>
        <a:ext cx="1338461" cy="1299947"/>
      </dsp:txXfrm>
    </dsp:sp>
    <dsp:sp modelId="{93D1E807-8936-4B2B-A82B-8BE73021AEF8}">
      <dsp:nvSpPr>
        <dsp:cNvPr id="0" name=""/>
        <dsp:cNvSpPr/>
      </dsp:nvSpPr>
      <dsp:spPr>
        <a:xfrm rot="10800000">
          <a:off x="3922717" y="4363137"/>
          <a:ext cx="299518" cy="5518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4012572" y="4473508"/>
        <a:ext cx="209663" cy="331112"/>
      </dsp:txXfrm>
    </dsp:sp>
    <dsp:sp modelId="{92607375-EDC5-4281-B60B-29FA6B087E7D}">
      <dsp:nvSpPr>
        <dsp:cNvPr id="0" name=""/>
        <dsp:cNvSpPr/>
      </dsp:nvSpPr>
      <dsp:spPr>
        <a:xfrm>
          <a:off x="1888565" y="3719862"/>
          <a:ext cx="1892869" cy="1838403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Updated Risk Levels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65769" y="3989090"/>
        <a:ext cx="1338461" cy="1299947"/>
      </dsp:txXfrm>
    </dsp:sp>
    <dsp:sp modelId="{E27A64C2-75AE-41E9-93BC-1FC7508F35AF}">
      <dsp:nvSpPr>
        <dsp:cNvPr id="0" name=""/>
        <dsp:cNvSpPr/>
      </dsp:nvSpPr>
      <dsp:spPr>
        <a:xfrm rot="15120000">
          <a:off x="2295198" y="3203056"/>
          <a:ext cx="325736" cy="5518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2359157" y="3359896"/>
        <a:ext cx="228015" cy="331112"/>
      </dsp:txXfrm>
    </dsp:sp>
    <dsp:sp modelId="{CA21388B-CACE-4874-9062-598F8FFFD724}">
      <dsp:nvSpPr>
        <dsp:cNvPr id="0" name=""/>
        <dsp:cNvSpPr/>
      </dsp:nvSpPr>
      <dsp:spPr>
        <a:xfrm>
          <a:off x="1129001" y="1382166"/>
          <a:ext cx="1892869" cy="1838403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Regular Updates on Existing and New Duty Holders 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06205" y="1651394"/>
        <a:ext cx="1338461" cy="1299947"/>
      </dsp:txXfrm>
    </dsp:sp>
    <dsp:sp modelId="{8DC2B4F3-F555-432B-A66E-F6D562291CC0}">
      <dsp:nvSpPr>
        <dsp:cNvPr id="0" name=""/>
        <dsp:cNvSpPr/>
      </dsp:nvSpPr>
      <dsp:spPr>
        <a:xfrm rot="19440000">
          <a:off x="2899567" y="1326486"/>
          <a:ext cx="275794" cy="55185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400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07468" y="1461173"/>
        <a:ext cx="193056" cy="33111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FBCC41-9BA6-479C-AC5D-D96CD6CBCCE8}">
      <dsp:nvSpPr>
        <dsp:cNvPr id="0" name=""/>
        <dsp:cNvSpPr/>
      </dsp:nvSpPr>
      <dsp:spPr>
        <a:xfrm>
          <a:off x="6938409" y="3753146"/>
          <a:ext cx="2034264" cy="4840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9874"/>
              </a:lnTo>
              <a:lnTo>
                <a:pt x="2034264" y="329874"/>
              </a:lnTo>
              <a:lnTo>
                <a:pt x="2034264" y="484062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7C804D-90D4-4E27-AE24-7F79A5C82A25}">
      <dsp:nvSpPr>
        <dsp:cNvPr id="0" name=""/>
        <dsp:cNvSpPr/>
      </dsp:nvSpPr>
      <dsp:spPr>
        <a:xfrm>
          <a:off x="6892689" y="3753146"/>
          <a:ext cx="91440" cy="48406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84062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812269-9E31-4DF3-88F4-494ABE7D8AD2}">
      <dsp:nvSpPr>
        <dsp:cNvPr id="0" name=""/>
        <dsp:cNvSpPr/>
      </dsp:nvSpPr>
      <dsp:spPr>
        <a:xfrm>
          <a:off x="4904144" y="3753146"/>
          <a:ext cx="2034264" cy="484062"/>
        </a:xfrm>
        <a:custGeom>
          <a:avLst/>
          <a:gdLst/>
          <a:ahLst/>
          <a:cxnLst/>
          <a:rect l="0" t="0" r="0" b="0"/>
          <a:pathLst>
            <a:path>
              <a:moveTo>
                <a:pt x="2034264" y="0"/>
              </a:moveTo>
              <a:lnTo>
                <a:pt x="2034264" y="329874"/>
              </a:lnTo>
              <a:lnTo>
                <a:pt x="0" y="329874"/>
              </a:lnTo>
              <a:lnTo>
                <a:pt x="0" y="484062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FBA811-6ACC-424A-9200-9FC27B5ACB33}">
      <dsp:nvSpPr>
        <dsp:cNvPr id="0" name=""/>
        <dsp:cNvSpPr/>
      </dsp:nvSpPr>
      <dsp:spPr>
        <a:xfrm>
          <a:off x="4395578" y="2212191"/>
          <a:ext cx="2542831" cy="4840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9874"/>
              </a:lnTo>
              <a:lnTo>
                <a:pt x="2542831" y="329874"/>
              </a:lnTo>
              <a:lnTo>
                <a:pt x="2542831" y="48406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CA1A49-DE84-47BE-ABCA-A46B75C2DECA}">
      <dsp:nvSpPr>
        <dsp:cNvPr id="0" name=""/>
        <dsp:cNvSpPr/>
      </dsp:nvSpPr>
      <dsp:spPr>
        <a:xfrm>
          <a:off x="1852747" y="3753146"/>
          <a:ext cx="1017132" cy="4840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9874"/>
              </a:lnTo>
              <a:lnTo>
                <a:pt x="1017132" y="329874"/>
              </a:lnTo>
              <a:lnTo>
                <a:pt x="1017132" y="484062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EEE85E-D885-415D-9E03-B54790034942}">
      <dsp:nvSpPr>
        <dsp:cNvPr id="0" name=""/>
        <dsp:cNvSpPr/>
      </dsp:nvSpPr>
      <dsp:spPr>
        <a:xfrm>
          <a:off x="835614" y="3753146"/>
          <a:ext cx="1017132" cy="484062"/>
        </a:xfrm>
        <a:custGeom>
          <a:avLst/>
          <a:gdLst/>
          <a:ahLst/>
          <a:cxnLst/>
          <a:rect l="0" t="0" r="0" b="0"/>
          <a:pathLst>
            <a:path>
              <a:moveTo>
                <a:pt x="1017132" y="0"/>
              </a:moveTo>
              <a:lnTo>
                <a:pt x="1017132" y="329874"/>
              </a:lnTo>
              <a:lnTo>
                <a:pt x="0" y="329874"/>
              </a:lnTo>
              <a:lnTo>
                <a:pt x="0" y="484062"/>
              </a:lnTo>
            </a:path>
          </a:pathLst>
        </a:cu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9A387E-51FF-4ABA-BAF3-E609CA8DBD54}">
      <dsp:nvSpPr>
        <dsp:cNvPr id="0" name=""/>
        <dsp:cNvSpPr/>
      </dsp:nvSpPr>
      <dsp:spPr>
        <a:xfrm>
          <a:off x="1852747" y="2212191"/>
          <a:ext cx="2542831" cy="484062"/>
        </a:xfrm>
        <a:custGeom>
          <a:avLst/>
          <a:gdLst/>
          <a:ahLst/>
          <a:cxnLst/>
          <a:rect l="0" t="0" r="0" b="0"/>
          <a:pathLst>
            <a:path>
              <a:moveTo>
                <a:pt x="2542831" y="0"/>
              </a:moveTo>
              <a:lnTo>
                <a:pt x="2542831" y="329874"/>
              </a:lnTo>
              <a:lnTo>
                <a:pt x="0" y="329874"/>
              </a:lnTo>
              <a:lnTo>
                <a:pt x="0" y="484062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F9ECA2-C522-47D4-BAF2-3DF0029EB574}">
      <dsp:nvSpPr>
        <dsp:cNvPr id="0" name=""/>
        <dsp:cNvSpPr/>
      </dsp:nvSpPr>
      <dsp:spPr>
        <a:xfrm>
          <a:off x="3563379" y="1155297"/>
          <a:ext cx="1664398" cy="105689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EECCA9-C293-47A7-AB6E-E7A5EE41310A}">
      <dsp:nvSpPr>
        <dsp:cNvPr id="0" name=""/>
        <dsp:cNvSpPr/>
      </dsp:nvSpPr>
      <dsp:spPr>
        <a:xfrm>
          <a:off x="3748312" y="1330984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Documented process</a:t>
          </a:r>
          <a:endParaRPr lang="fr-FR" sz="1800" b="1" kern="1200" dirty="0"/>
        </a:p>
      </dsp:txBody>
      <dsp:txXfrm>
        <a:off x="3779267" y="1361939"/>
        <a:ext cx="1602488" cy="994983"/>
      </dsp:txXfrm>
    </dsp:sp>
    <dsp:sp modelId="{5D5C0DF8-A151-45B8-B507-C2BC0BA96BEE}">
      <dsp:nvSpPr>
        <dsp:cNvPr id="0" name=""/>
        <dsp:cNvSpPr/>
      </dsp:nvSpPr>
      <dsp:spPr>
        <a:xfrm>
          <a:off x="1020548" y="2696253"/>
          <a:ext cx="1664398" cy="105689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6F44E1-818F-4455-BE15-AEC6EA55FC89}">
      <dsp:nvSpPr>
        <dsp:cNvPr id="0" name=""/>
        <dsp:cNvSpPr/>
      </dsp:nvSpPr>
      <dsp:spPr>
        <a:xfrm>
          <a:off x="1205481" y="2871940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/>
            <a:t>Talk to patients, relatives</a:t>
          </a:r>
          <a:endParaRPr lang="fr-FR" sz="1800" b="1" kern="1200" dirty="0"/>
        </a:p>
      </dsp:txBody>
      <dsp:txXfrm>
        <a:off x="1236436" y="2902895"/>
        <a:ext cx="1602488" cy="994983"/>
      </dsp:txXfrm>
    </dsp:sp>
    <dsp:sp modelId="{43A29A45-6EEA-4CCA-BFF1-35D1C53F1A1A}">
      <dsp:nvSpPr>
        <dsp:cNvPr id="0" name=""/>
        <dsp:cNvSpPr/>
      </dsp:nvSpPr>
      <dsp:spPr>
        <a:xfrm>
          <a:off x="3415" y="4237209"/>
          <a:ext cx="1664398" cy="10568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718914-D34C-47F1-836D-A568F208C651}">
      <dsp:nvSpPr>
        <dsp:cNvPr id="0" name=""/>
        <dsp:cNvSpPr/>
      </dsp:nvSpPr>
      <dsp:spPr>
        <a:xfrm>
          <a:off x="188348" y="4412895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Consistent with “official”?</a:t>
          </a:r>
          <a:endParaRPr lang="fr-FR" sz="1800" b="1" kern="1200" dirty="0"/>
        </a:p>
      </dsp:txBody>
      <dsp:txXfrm>
        <a:off x="219303" y="4443850"/>
        <a:ext cx="1602488" cy="994983"/>
      </dsp:txXfrm>
    </dsp:sp>
    <dsp:sp modelId="{935B8EC5-AA76-43E8-A86C-8029AC44A0DB}">
      <dsp:nvSpPr>
        <dsp:cNvPr id="0" name=""/>
        <dsp:cNvSpPr/>
      </dsp:nvSpPr>
      <dsp:spPr>
        <a:xfrm>
          <a:off x="2037680" y="4237209"/>
          <a:ext cx="1664398" cy="10568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FE74A4-EE32-4FF9-92D8-A5FB4DFDDC3A}">
      <dsp:nvSpPr>
        <dsp:cNvPr id="0" name=""/>
        <dsp:cNvSpPr/>
      </dsp:nvSpPr>
      <dsp:spPr>
        <a:xfrm>
          <a:off x="2222613" y="4412895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Alarm signs?</a:t>
          </a:r>
          <a:endParaRPr lang="fr-FR" sz="1800" b="1" kern="1200" dirty="0"/>
        </a:p>
      </dsp:txBody>
      <dsp:txXfrm>
        <a:off x="2253568" y="4443850"/>
        <a:ext cx="1602488" cy="994983"/>
      </dsp:txXfrm>
    </dsp:sp>
    <dsp:sp modelId="{AC54C586-1ED6-4C24-B69B-0792FB0FA6AF}">
      <dsp:nvSpPr>
        <dsp:cNvPr id="0" name=""/>
        <dsp:cNvSpPr/>
      </dsp:nvSpPr>
      <dsp:spPr>
        <a:xfrm>
          <a:off x="6106210" y="2696253"/>
          <a:ext cx="1664398" cy="105689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439BD01-5323-4EE9-B9B9-A1DCED9CFE99}">
      <dsp:nvSpPr>
        <dsp:cNvPr id="0" name=""/>
        <dsp:cNvSpPr/>
      </dsp:nvSpPr>
      <dsp:spPr>
        <a:xfrm>
          <a:off x="6291143" y="2871940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Talk with workers</a:t>
          </a:r>
          <a:endParaRPr lang="fr-FR" sz="1800" b="1" kern="1200" dirty="0"/>
        </a:p>
      </dsp:txBody>
      <dsp:txXfrm>
        <a:off x="6322098" y="2902895"/>
        <a:ext cx="1602488" cy="994983"/>
      </dsp:txXfrm>
    </dsp:sp>
    <dsp:sp modelId="{0C64D293-EED6-4790-8AE5-73C8233FE025}">
      <dsp:nvSpPr>
        <dsp:cNvPr id="0" name=""/>
        <dsp:cNvSpPr/>
      </dsp:nvSpPr>
      <dsp:spPr>
        <a:xfrm>
          <a:off x="4071945" y="4237209"/>
          <a:ext cx="1664398" cy="10568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75BCD8-58B5-421F-AAA0-37B09F439A6C}">
      <dsp:nvSpPr>
        <dsp:cNvPr id="0" name=""/>
        <dsp:cNvSpPr/>
      </dsp:nvSpPr>
      <dsp:spPr>
        <a:xfrm>
          <a:off x="4256878" y="4412895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Consistent w procedure, and w each other</a:t>
          </a:r>
          <a:endParaRPr lang="fr-FR" sz="1800" b="1" kern="1200" dirty="0"/>
        </a:p>
      </dsp:txBody>
      <dsp:txXfrm>
        <a:off x="4287833" y="4443850"/>
        <a:ext cx="1602488" cy="994983"/>
      </dsp:txXfrm>
    </dsp:sp>
    <dsp:sp modelId="{36397BA0-D7FE-4C67-8200-40E4CA491F69}">
      <dsp:nvSpPr>
        <dsp:cNvPr id="0" name=""/>
        <dsp:cNvSpPr/>
      </dsp:nvSpPr>
      <dsp:spPr>
        <a:xfrm>
          <a:off x="6106210" y="4237209"/>
          <a:ext cx="1664398" cy="10568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DBBE35-E29E-4C70-BFBE-23D1EE7DB034}">
      <dsp:nvSpPr>
        <dsp:cNvPr id="0" name=""/>
        <dsp:cNvSpPr/>
      </dsp:nvSpPr>
      <dsp:spPr>
        <a:xfrm>
          <a:off x="6291143" y="4412895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Dissimulation / evasion?</a:t>
          </a:r>
          <a:endParaRPr lang="fr-FR" sz="1800" b="1" kern="1200" dirty="0"/>
        </a:p>
      </dsp:txBody>
      <dsp:txXfrm>
        <a:off x="6322098" y="4443850"/>
        <a:ext cx="1602488" cy="994983"/>
      </dsp:txXfrm>
    </dsp:sp>
    <dsp:sp modelId="{02A040D4-769F-4A52-AA61-6AA61243D458}">
      <dsp:nvSpPr>
        <dsp:cNvPr id="0" name=""/>
        <dsp:cNvSpPr/>
      </dsp:nvSpPr>
      <dsp:spPr>
        <a:xfrm>
          <a:off x="8140475" y="4237209"/>
          <a:ext cx="1664398" cy="10568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90018C-28E1-485C-96F3-DCAEABFC59B1}">
      <dsp:nvSpPr>
        <dsp:cNvPr id="0" name=""/>
        <dsp:cNvSpPr/>
      </dsp:nvSpPr>
      <dsp:spPr>
        <a:xfrm>
          <a:off x="8325408" y="4412895"/>
          <a:ext cx="1664398" cy="10568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/>
            <a:t>Competence?</a:t>
          </a:r>
          <a:endParaRPr lang="fr-FR" sz="1800" b="1" kern="1200" dirty="0"/>
        </a:p>
      </dsp:txBody>
      <dsp:txXfrm>
        <a:off x="8356363" y="4443850"/>
        <a:ext cx="1602488" cy="99498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675C08-C897-9143-8066-CA6724E320A5}">
      <dsp:nvSpPr>
        <dsp:cNvPr id="0" name=""/>
        <dsp:cNvSpPr/>
      </dsp:nvSpPr>
      <dsp:spPr>
        <a:xfrm>
          <a:off x="2301234" y="1359230"/>
          <a:ext cx="3251146" cy="3251146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900" kern="1200" dirty="0">
              <a:latin typeface="Arial" panose="020B0604020202020204" pitchFamily="34" charset="0"/>
              <a:cs typeface="Arial" panose="020B0604020202020204" pitchFamily="34" charset="0"/>
            </a:rPr>
            <a:t>Moving towards outcomes</a:t>
          </a:r>
          <a:endParaRPr lang="fr-FR" sz="3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77353" y="1835349"/>
        <a:ext cx="2298908" cy="2298908"/>
      </dsp:txXfrm>
    </dsp:sp>
    <dsp:sp modelId="{9759072B-2213-F14B-A323-79F4FCAA6608}">
      <dsp:nvSpPr>
        <dsp:cNvPr id="0" name=""/>
        <dsp:cNvSpPr/>
      </dsp:nvSpPr>
      <dsp:spPr>
        <a:xfrm>
          <a:off x="3114020" y="53578"/>
          <a:ext cx="1625573" cy="162557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Systematic</a:t>
          </a:r>
          <a:r>
            <a:rPr lang="fr-CA" sz="1400" b="1" kern="1200" dirty="0">
              <a:latin typeface="Arial" panose="020B0604020202020204" pitchFamily="34" charset="0"/>
              <a:cs typeface="Arial" panose="020B0604020202020204" pitchFamily="34" charset="0"/>
            </a:rPr>
            <a:t> data management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352080" y="291638"/>
        <a:ext cx="1149453" cy="1149453"/>
      </dsp:txXfrm>
    </dsp:sp>
    <dsp:sp modelId="{FD627BA4-BB86-5549-B654-C3719A6F0DC7}">
      <dsp:nvSpPr>
        <dsp:cNvPr id="0" name=""/>
        <dsp:cNvSpPr/>
      </dsp:nvSpPr>
      <dsp:spPr>
        <a:xfrm>
          <a:off x="4770282" y="851192"/>
          <a:ext cx="1625573" cy="162557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More data-driven planning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008342" y="1089252"/>
        <a:ext cx="1149453" cy="1149453"/>
      </dsp:txXfrm>
    </dsp:sp>
    <dsp:sp modelId="{AF60A1C9-DD54-C44A-9F3C-3219D0D57002}">
      <dsp:nvSpPr>
        <dsp:cNvPr id="0" name=""/>
        <dsp:cNvSpPr/>
      </dsp:nvSpPr>
      <dsp:spPr>
        <a:xfrm>
          <a:off x="5179345" y="2643414"/>
          <a:ext cx="1625573" cy="162557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latin typeface="Arial" panose="020B0604020202020204" pitchFamily="34" charset="0"/>
              <a:cs typeface="Arial" panose="020B0604020202020204" pitchFamily="34" charset="0"/>
            </a:rPr>
            <a:t>Risk-</a:t>
          </a:r>
          <a:r>
            <a:rPr lang="fr-CA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based</a:t>
          </a:r>
          <a:r>
            <a:rPr lang="fr-CA" sz="1400" b="1" kern="1200" dirty="0">
              <a:latin typeface="Arial" panose="020B0604020202020204" pitchFamily="34" charset="0"/>
              <a:cs typeface="Arial" panose="020B0604020202020204" pitchFamily="34" charset="0"/>
            </a:rPr>
            <a:t> management of complaints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417405" y="2881474"/>
        <a:ext cx="1149453" cy="1149453"/>
      </dsp:txXfrm>
    </dsp:sp>
    <dsp:sp modelId="{E7479828-424E-8D47-8DDF-3EDBEE06B495}">
      <dsp:nvSpPr>
        <dsp:cNvPr id="0" name=""/>
        <dsp:cNvSpPr/>
      </dsp:nvSpPr>
      <dsp:spPr>
        <a:xfrm>
          <a:off x="4033176" y="4080664"/>
          <a:ext cx="1625573" cy="162557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 err="1">
              <a:latin typeface="Arial" panose="020B0604020202020204" pitchFamily="34" charset="0"/>
              <a:cs typeface="Arial" panose="020B0604020202020204" pitchFamily="34" charset="0"/>
            </a:rPr>
            <a:t>Enforcement</a:t>
          </a:r>
          <a:r>
            <a:rPr lang="fr-CA" sz="1400" b="1" kern="1200" dirty="0">
              <a:latin typeface="Arial" panose="020B0604020202020204" pitchFamily="34" charset="0"/>
              <a:cs typeface="Arial" panose="020B0604020202020204" pitchFamily="34" charset="0"/>
            </a:rPr>
            <a:t> Management Mode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71236" y="4318724"/>
        <a:ext cx="1149453" cy="1149453"/>
      </dsp:txXfrm>
    </dsp:sp>
    <dsp:sp modelId="{DD68E1DF-ECD9-2944-BC12-C7DE6B46CCEF}">
      <dsp:nvSpPr>
        <dsp:cNvPr id="0" name=""/>
        <dsp:cNvSpPr/>
      </dsp:nvSpPr>
      <dsp:spPr>
        <a:xfrm>
          <a:off x="2194864" y="4080664"/>
          <a:ext cx="1625573" cy="1625573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Hands-on guidance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432924" y="4318724"/>
        <a:ext cx="1149453" cy="1149453"/>
      </dsp:txXfrm>
    </dsp:sp>
    <dsp:sp modelId="{27B42DF3-C855-5B43-A71E-DEF6A8BC2B8E}">
      <dsp:nvSpPr>
        <dsp:cNvPr id="0" name=""/>
        <dsp:cNvSpPr/>
      </dsp:nvSpPr>
      <dsp:spPr>
        <a:xfrm>
          <a:off x="1048696" y="2643414"/>
          <a:ext cx="1625573" cy="162557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latin typeface="Arial" panose="020B0604020202020204" pitchFamily="34" charset="0"/>
              <a:cs typeface="Arial" panose="020B0604020202020204" pitchFamily="34" charset="0"/>
            </a:rPr>
            <a:t>Effective inspections</a:t>
          </a: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 outcomes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86756" y="2881474"/>
        <a:ext cx="1149453" cy="1149453"/>
      </dsp:txXfrm>
    </dsp:sp>
    <dsp:sp modelId="{4F39DE95-91F7-C04C-A9A8-6C60BABD995A}">
      <dsp:nvSpPr>
        <dsp:cNvPr id="0" name=""/>
        <dsp:cNvSpPr/>
      </dsp:nvSpPr>
      <dsp:spPr>
        <a:xfrm>
          <a:off x="1457759" y="851192"/>
          <a:ext cx="1625573" cy="162557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latin typeface="Arial" panose="020B0604020202020204" pitchFamily="34" charset="0"/>
              <a:cs typeface="Arial" panose="020B0604020202020204" pitchFamily="34" charset="0"/>
            </a:rPr>
            <a:t>Map systems</a:t>
          </a:r>
          <a:endParaRPr lang="fr-FR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95819" y="1089252"/>
        <a:ext cx="1149453" cy="11494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03E5E9-5286-401E-BACA-C2E620AEB4AC}" type="datetimeFigureOut">
              <a:rPr lang="fr-FR" smtClean="0"/>
              <a:t>07/12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6399F7-DCA1-4C55-98D0-16EDCE211A11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9548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8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B03F6-462A-4C7A-93BA-81C57E4BFF2C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382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6140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8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B03F6-462A-4C7A-93BA-81C57E4BFF2C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382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547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8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B03F6-462A-4C7A-93BA-81C57E4BFF2C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382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88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8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B03F6-462A-4C7A-93BA-81C57E4BFF2C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382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450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8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B03F6-462A-4C7A-93BA-81C57E4BFF2C}" type="slidenum">
              <a:rPr kumimoji="0" lang="en-US" sz="1000" b="0" i="1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382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67615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F68E2-58F2-4D09-BE8B-E3BD06533059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6473-DF6D-4702-B328-E0DD40540A4E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7E3A-B166-407D-9866-32884E7D5B37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24806" y="5328000"/>
            <a:ext cx="1267209" cy="15300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2801" y="468000"/>
            <a:ext cx="923077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80000" y="2919600"/>
            <a:ext cx="8832000" cy="1058400"/>
          </a:xfrm>
        </p:spPr>
        <p:txBody>
          <a:bodyPr anchor="ctr" anchorCtr="0"/>
          <a:lstStyle>
            <a:lvl1pPr algn="ctr">
              <a:lnSpc>
                <a:spcPts val="2775"/>
              </a:lnSpc>
              <a:defRPr sz="2775" b="0" i="0" cap="all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br>
              <a:rPr lang="fr-FR" dirty="0"/>
            </a:br>
            <a:r>
              <a:rPr lang="fr-FR" dirty="0"/>
              <a:t>Section Header </a:t>
            </a:r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25600" y="6411600"/>
            <a:ext cx="456000" cy="2448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ctr">
              <a:defRPr sz="900" baseline="0">
                <a:solidFill>
                  <a:srgbClr val="006299"/>
                </a:solidFill>
                <a:latin typeface="Arial"/>
              </a:defRPr>
            </a:lvl1pPr>
          </a:lstStyle>
          <a:p>
            <a:fld id="{40D92DE6-F1BA-F646-B74A-EF221A52AC34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2000" y="6411600"/>
            <a:ext cx="6240000" cy="244800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90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/>
              <a:t>Reinforcing trust through better regulatory delivery, March 15, 2022</a:t>
            </a:r>
            <a:endParaRPr lang="x-none"/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537600" y="6411600"/>
            <a:ext cx="1056000" cy="244800"/>
          </a:xfrm>
          <a:prstGeom prst="rect">
            <a:avLst/>
          </a:prstGeom>
        </p:spPr>
        <p:txBody>
          <a:bodyPr vert="horz" lIns="68580" tIns="34290" rIns="0" bIns="34290" rtlCol="0" anchor="t" anchorCtr="0"/>
          <a:lstStyle>
            <a:defPPr>
              <a:defRPr lang="fr-FR"/>
            </a:defPPr>
            <a:lvl1pPr marL="0" algn="l" defTabSz="457200" rtl="0" eaLnBrk="1" latinLnBrk="0" hangingPunct="1">
              <a:defRPr sz="1200" kern="1200" baseline="0">
                <a:solidFill>
                  <a:srgbClr val="727272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>
                <a:solidFill>
                  <a:schemeClr val="bg1"/>
                </a:solidFill>
              </a:rPr>
              <a:t>© OECD |</a:t>
            </a:r>
            <a:endParaRPr lang="fr-FR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6916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64000" y="228600"/>
            <a:ext cx="11664000" cy="540000"/>
          </a:xfrm>
          <a:prstGeom prst="rect">
            <a:avLst/>
          </a:prstGeom>
        </p:spPr>
        <p:txBody>
          <a:bodyPr/>
          <a:lstStyle>
            <a:lvl1pPr algn="l">
              <a:defRPr sz="2800">
                <a:solidFill>
                  <a:srgbClr val="006699"/>
                </a:solidFill>
                <a:latin typeface="+mn-lt" panose="020B0604030504040204" pitchFamily="34" charset="0"/>
                <a:ea typeface="+mn-lt" panose="020B0604030504040204" pitchFamily="34" charset="0"/>
              </a:defRPr>
            </a:lvl1pPr>
          </a:lstStyle>
          <a:p>
            <a:r>
              <a:rPr lang="en-GB" noProof="0" dirty="0"/>
              <a:t>Click to add SmartArt 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4000" y="5943600"/>
            <a:ext cx="11664000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 baseline="0">
                <a:solidFill>
                  <a:schemeClr val="tx1"/>
                </a:solidFill>
                <a:latin typeface="+mn-lt"/>
                <a:ea typeface="+mn-lt" panose="020B060403050404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to add source/note – For non-OECD/NEA material, make sure that you have the publisher's or author's permission and all sources are correctly cited. See the BIPs page for more information, http://intranet.oecd-nea.org/content/staff/basic.</a:t>
            </a:r>
          </a:p>
        </p:txBody>
      </p:sp>
      <p:sp>
        <p:nvSpPr>
          <p:cNvPr id="4" name="SmartArt Placeholder 3"/>
          <p:cNvSpPr>
            <a:spLocks noGrp="1"/>
          </p:cNvSpPr>
          <p:nvPr>
            <p:ph type="dgm" sz="quarter" idx="14" hasCustomPrompt="1"/>
          </p:nvPr>
        </p:nvSpPr>
        <p:spPr>
          <a:xfrm>
            <a:off x="263525" y="1295400"/>
            <a:ext cx="11664475" cy="4572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Click to add SmartArt</a:t>
            </a:r>
            <a:br>
              <a:rPr lang="en-GB" dirty="0"/>
            </a:br>
            <a:r>
              <a:rPr lang="en-GB" noProof="0" dirty="0"/>
              <a:t>Verdana will have to be manually applied.</a:t>
            </a:r>
            <a:br>
              <a:rPr lang="en-GB" noProof="0" dirty="0"/>
            </a:br>
            <a:r>
              <a:rPr lang="en-GB" noProof="0" dirty="0"/>
              <a:t>The colour and style can modified by selecting “SmartArt Style” under the “SmartArt Tools Design” tab.</a:t>
            </a:r>
            <a:br>
              <a:rPr lang="en-GB" noProof="0" dirty="0"/>
            </a:br>
            <a:r>
              <a:rPr lang="en-GB" noProof="0" dirty="0"/>
              <a:t>If possible avoid font sizes below 14 pt.</a:t>
            </a:r>
          </a:p>
          <a:p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6798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CA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336172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F0254557-475F-470D-AB45-3AC9525E3521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398017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649883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957612BC-C1BE-48D0-A40A-ADFD59FFAFE4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2153808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93013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AFF762B3-DA29-4F29-A19E-4F5736F66DA6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776433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FC5F6-F338-4AE4-BB23-26385BCFC423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F0254557-475F-470D-AB45-3AC9525E3521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656083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7744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CA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084239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032607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67989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3;p1">
            <a:extLst>
              <a:ext uri="{FF2B5EF4-FFF2-40B4-BE49-F238E27FC236}">
                <a16:creationId xmlns:a16="http://schemas.microsoft.com/office/drawing/2014/main" id="{3A7E6C2D-657A-4718-801B-B80EE8F9349B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40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17" name="Image 12">
            <a:extLst>
              <a:ext uri="{FF2B5EF4-FFF2-40B4-BE49-F238E27FC236}">
                <a16:creationId xmlns:a16="http://schemas.microsoft.com/office/drawing/2014/main" id="{AFCBE01A-9925-4FE1-B311-B5B8F3979F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4000" y="2628370"/>
            <a:ext cx="2628000" cy="4229631"/>
          </a:xfrm>
          <a:prstGeom prst="rect">
            <a:avLst/>
          </a:prstGeom>
        </p:spPr>
      </p:pic>
      <p:pic>
        <p:nvPicPr>
          <p:cNvPr id="18" name="Image 13">
            <a:extLst>
              <a:ext uri="{FF2B5EF4-FFF2-40B4-BE49-F238E27FC236}">
                <a16:creationId xmlns:a16="http://schemas.microsoft.com/office/drawing/2014/main" id="{3C485161-5EF2-4F1D-B56D-79778C31F1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999" y="6037701"/>
            <a:ext cx="1742400" cy="5788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1012FB-54CD-44BE-AC89-9E1D5CD69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9850" y="1125539"/>
            <a:ext cx="6975675" cy="1582737"/>
          </a:xfrm>
        </p:spPr>
        <p:txBody>
          <a:bodyPr>
            <a:normAutofit/>
          </a:bodyPr>
          <a:lstStyle>
            <a:lvl1pPr>
              <a:defRPr sz="36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F4F72BA-5C68-47E5-B690-AC72C1625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0563" y="2974098"/>
            <a:ext cx="6954963" cy="448201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2356326-2974-4301-A7B6-A63D268BA081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0563" y="4278629"/>
            <a:ext cx="6954963" cy="287337"/>
          </a:xfrm>
        </p:spPr>
        <p:txBody>
          <a:bodyPr anchor="b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048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6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9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3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15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983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81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64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859FFF6-7EBB-4396-AB88-A2BC681D1902}"/>
              </a:ext>
            </a:extLst>
          </p:cNvPr>
          <p:cNvGrpSpPr/>
          <p:nvPr/>
        </p:nvGrpSpPr>
        <p:grpSpPr>
          <a:xfrm>
            <a:off x="444728" y="562847"/>
            <a:ext cx="2934985" cy="5572508"/>
            <a:chOff x="444727" y="562847"/>
            <a:chExt cx="2934985" cy="5572508"/>
          </a:xfrm>
        </p:grpSpPr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38EE250-A311-476A-A43B-3D25435FC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44727" y="562847"/>
              <a:ext cx="2934985" cy="557250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3C88CA9-C154-43D9-A89B-179FD891DC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59" t="34106" r="30951" b="30738"/>
            <a:stretch/>
          </p:blipFill>
          <p:spPr>
            <a:xfrm>
              <a:off x="1430866" y="2273300"/>
              <a:ext cx="1049868" cy="1062567"/>
            </a:xfrm>
            <a:prstGeom prst="ellipse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20861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pos="6743">
          <p15:clr>
            <a:srgbClr val="FBAE40"/>
          </p15:clr>
        </p15:guide>
        <p15:guide id="3" pos="2479">
          <p15:clr>
            <a:srgbClr val="FBAE40"/>
          </p15:clr>
        </p15:guide>
        <p15:guide id="4" orient="horz" pos="17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93;p1">
            <a:extLst>
              <a:ext uri="{FF2B5EF4-FFF2-40B4-BE49-F238E27FC236}">
                <a16:creationId xmlns:a16="http://schemas.microsoft.com/office/drawing/2014/main" id="{666A34AD-3B0C-454D-A0E5-29558C4CC33B}"/>
              </a:ext>
            </a:extLst>
          </p:cNvPr>
          <p:cNvSpPr/>
          <p:nvPr/>
        </p:nvSpPr>
        <p:spPr>
          <a:xfrm>
            <a:off x="8525522" y="0"/>
            <a:ext cx="3666478" cy="6858000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93;p1">
            <a:extLst>
              <a:ext uri="{FF2B5EF4-FFF2-40B4-BE49-F238E27FC236}">
                <a16:creationId xmlns:a16="http://schemas.microsoft.com/office/drawing/2014/main" id="{1D097257-B89C-4550-9690-6E5F7EAAD51D}"/>
              </a:ext>
            </a:extLst>
          </p:cNvPr>
          <p:cNvSpPr/>
          <p:nvPr/>
        </p:nvSpPr>
        <p:spPr>
          <a:xfrm>
            <a:off x="1" y="0"/>
            <a:ext cx="8642959" cy="6858000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8380" y="1412876"/>
            <a:ext cx="7903148" cy="1275022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600" cap="all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6368" y="3204900"/>
            <a:ext cx="7903148" cy="448201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871B3D0-E85F-4A29-905B-1130F3F25405}"/>
              </a:ext>
            </a:extLst>
          </p:cNvPr>
          <p:cNvGrpSpPr/>
          <p:nvPr/>
        </p:nvGrpSpPr>
        <p:grpSpPr>
          <a:xfrm>
            <a:off x="8720648" y="736217"/>
            <a:ext cx="2934985" cy="5572508"/>
            <a:chOff x="444727" y="562847"/>
            <a:chExt cx="2934985" cy="557250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A7D4658-5300-4858-A769-29FCC6DF2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727" y="562847"/>
              <a:ext cx="2934985" cy="557250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111415D-C7DA-4CD1-AC4E-06AA07921B4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59" t="34106" r="30951" b="30738"/>
            <a:stretch/>
          </p:blipFill>
          <p:spPr>
            <a:xfrm>
              <a:off x="1430866" y="2273300"/>
              <a:ext cx="1049868" cy="1062567"/>
            </a:xfrm>
            <a:prstGeom prst="ellipse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70607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2">
          <p15:clr>
            <a:srgbClr val="FBAE40"/>
          </p15:clr>
        </p15:guide>
        <p15:guide id="2" orient="horz" pos="4088">
          <p15:clr>
            <a:srgbClr val="FBAE40"/>
          </p15:clr>
        </p15:guide>
        <p15:guide id="3" orient="horz" pos="1842">
          <p15:clr>
            <a:srgbClr val="FBAE40"/>
          </p15:clr>
        </p15:guide>
        <p15:guide id="4" orient="horz" pos="250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51034" y="2153978"/>
            <a:ext cx="7317200" cy="1275022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3200" b="1" cap="all" baseline="0" dirty="0">
                <a:solidFill>
                  <a:srgbClr val="6D6E7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1222" y="3728164"/>
            <a:ext cx="7297012" cy="448201"/>
          </a:xfrm>
        </p:spPr>
        <p:txBody>
          <a:bodyPr/>
          <a:lstStyle>
            <a:lvl1pPr marL="0" indent="0" algn="l">
              <a:buNone/>
              <a:defRPr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Google Shape;93;p1">
            <a:extLst>
              <a:ext uri="{FF2B5EF4-FFF2-40B4-BE49-F238E27FC236}">
                <a16:creationId xmlns:a16="http://schemas.microsoft.com/office/drawing/2014/main" id="{1D097257-B89C-4550-9690-6E5F7EAAD51D}"/>
              </a:ext>
            </a:extLst>
          </p:cNvPr>
          <p:cNvSpPr/>
          <p:nvPr/>
        </p:nvSpPr>
        <p:spPr>
          <a:xfrm>
            <a:off x="0" y="0"/>
            <a:ext cx="3908121" cy="6858000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A7CBE3B7-F75B-48B0-A9A5-684F51F2B48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9869443" y="6010392"/>
            <a:ext cx="1879644" cy="479309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DA7134-458F-49EB-845A-DD214939572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371222" y="4623871"/>
            <a:ext cx="7297012" cy="287337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6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9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3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15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983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81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644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8883C81-9847-4F54-849A-7688907C2CCF}"/>
              </a:ext>
            </a:extLst>
          </p:cNvPr>
          <p:cNvGrpSpPr/>
          <p:nvPr/>
        </p:nvGrpSpPr>
        <p:grpSpPr>
          <a:xfrm>
            <a:off x="444728" y="562847"/>
            <a:ext cx="2934985" cy="5572508"/>
            <a:chOff x="444727" y="562847"/>
            <a:chExt cx="2934985" cy="5572508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5EFF1A70-B267-461F-9E8A-C378340F2D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4727" y="562847"/>
              <a:ext cx="2934985" cy="557250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B89432A-0A29-4F16-A5F0-9AC728EE03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59" t="34106" r="30951" b="30738"/>
            <a:stretch/>
          </p:blipFill>
          <p:spPr>
            <a:xfrm>
              <a:off x="1430866" y="2273300"/>
              <a:ext cx="1049868" cy="1062567"/>
            </a:xfrm>
            <a:prstGeom prst="ellipse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47386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57">
          <p15:clr>
            <a:srgbClr val="FBAE40"/>
          </p15:clr>
        </p15:guide>
        <p15:guide id="2" orient="horz" pos="4088">
          <p15:clr>
            <a:srgbClr val="FBAE40"/>
          </p15:clr>
        </p15:guide>
        <p15:guide id="3" orient="horz" pos="1842">
          <p15:clr>
            <a:srgbClr val="FBAE40"/>
          </p15:clr>
        </p15:guide>
        <p15:guide id="4" orient="horz" pos="2500">
          <p15:clr>
            <a:srgbClr val="FBAE40"/>
          </p15:clr>
        </p15:guide>
        <p15:guide id="5" pos="275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Image 8">
            <a:extLst>
              <a:ext uri="{FF2B5EF4-FFF2-40B4-BE49-F238E27FC236}">
                <a16:creationId xmlns:a16="http://schemas.microsoft.com/office/drawing/2014/main" id="{55F43CDD-62C9-4E62-A6D7-5EAD2E805B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371" y="5328370"/>
            <a:ext cx="950407" cy="1529631"/>
          </a:xfrm>
          <a:prstGeom prst="rect">
            <a:avLst/>
          </a:prstGeom>
          <a:ln>
            <a:noFill/>
          </a:ln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120C67-90B4-4899-B591-041C4343BE8E}"/>
              </a:ext>
            </a:extLst>
          </p:cNvPr>
          <p:cNvSpPr txBox="1">
            <a:spLocks/>
          </p:cNvSpPr>
          <p:nvPr/>
        </p:nvSpPr>
        <p:spPr>
          <a:xfrm>
            <a:off x="11683770" y="6411785"/>
            <a:ext cx="342000" cy="2448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 baseline="0">
                <a:solidFill>
                  <a:schemeClr val="bg1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E284C4-5ED1-4D6C-B7CC-2049C3062C5E}" type="slidenum">
              <a:rPr lang="en-GB" sz="1000" smtClean="0">
                <a:solidFill>
                  <a:prstClr val="white"/>
                </a:solidFill>
              </a:rPr>
              <a:pPr/>
              <a:t>‹#›</a:t>
            </a:fld>
            <a:endParaRPr lang="en-GB" sz="1000" dirty="0">
              <a:solidFill>
                <a:prstClr val="white"/>
              </a:solidFill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B56AAD5-1173-4F8C-9EC8-C0EE8D088E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17792" y="6216968"/>
            <a:ext cx="1422400" cy="243417"/>
          </a:xfrm>
        </p:spPr>
        <p:txBody>
          <a:bodyPr/>
          <a:lstStyle>
            <a:lvl1pPr>
              <a:defRPr>
                <a:solidFill>
                  <a:srgbClr val="5A5A5A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7/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A732997-AD1F-4C55-B3FF-D01430877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0" y="6215151"/>
            <a:ext cx="8102480" cy="243417"/>
          </a:xfrm>
        </p:spPr>
        <p:txBody>
          <a:bodyPr/>
          <a:lstStyle>
            <a:lvl1pPr>
              <a:defRPr>
                <a:solidFill>
                  <a:srgbClr val="5A5A5A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6CF24F9-80E2-464B-A1E3-EF261D52D149}"/>
              </a:ext>
            </a:extLst>
          </p:cNvPr>
          <p:cNvSpPr txBox="1">
            <a:spLocks/>
          </p:cNvSpPr>
          <p:nvPr userDrawn="1"/>
        </p:nvSpPr>
        <p:spPr>
          <a:xfrm>
            <a:off x="406400" y="6273800"/>
            <a:ext cx="704000" cy="163200"/>
          </a:xfrm>
          <a:prstGeom prst="rect">
            <a:avLst/>
          </a:prstGeom>
        </p:spPr>
        <p:txBody>
          <a:bodyPr vert="horz" lIns="45720" tIns="22860" rIns="0" bIns="22860" rtlCol="0" anchor="t" anchorCtr="0"/>
          <a:lstStyle>
            <a:defPPr>
              <a:defRPr lang="fr-FR"/>
            </a:defPPr>
            <a:lvl1pPr marL="0" algn="l" defTabSz="457200" rtl="0" eaLnBrk="1" latinLnBrk="0" hangingPunct="1">
              <a:defRPr sz="1200" kern="1200" baseline="0">
                <a:solidFill>
                  <a:srgbClr val="727272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rgbClr val="5A5A5A"/>
                </a:solidFill>
              </a:rPr>
              <a:t>© OECD |</a:t>
            </a:r>
            <a:endParaRPr lang="fr-FR" sz="800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2279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7015" y="384908"/>
            <a:ext cx="10635561" cy="726106"/>
          </a:xfrm>
          <a:noFill/>
        </p:spPr>
        <p:txBody>
          <a:bodyPr>
            <a:normAutofit/>
          </a:bodyPr>
          <a:lstStyle>
            <a:lvl1pPr>
              <a:defRPr sz="2800" b="1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1pPr>
            <a:lvl2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2pPr>
            <a:lvl3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3pPr>
            <a:lvl4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4pPr>
            <a:lvl5pPr>
              <a:defRPr baseline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Image 8">
            <a:extLst>
              <a:ext uri="{FF2B5EF4-FFF2-40B4-BE49-F238E27FC236}">
                <a16:creationId xmlns:a16="http://schemas.microsoft.com/office/drawing/2014/main" id="{55F43CDD-62C9-4E62-A6D7-5EAD2E805B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371" y="5328370"/>
            <a:ext cx="950407" cy="1529631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120C67-90B4-4899-B591-041C4343BE8E}"/>
              </a:ext>
            </a:extLst>
          </p:cNvPr>
          <p:cNvSpPr txBox="1">
            <a:spLocks/>
          </p:cNvSpPr>
          <p:nvPr/>
        </p:nvSpPr>
        <p:spPr>
          <a:xfrm>
            <a:off x="11683770" y="6411785"/>
            <a:ext cx="342000" cy="2448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 baseline="0">
                <a:solidFill>
                  <a:schemeClr val="bg1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E284C4-5ED1-4D6C-B7CC-2049C3062C5E}" type="slidenum">
              <a:rPr lang="en-GB" sz="1000" smtClean="0">
                <a:solidFill>
                  <a:prstClr val="white"/>
                </a:solidFill>
              </a:rPr>
              <a:pPr/>
              <a:t>‹#›</a:t>
            </a:fld>
            <a:endParaRPr lang="en-GB" sz="1000" dirty="0">
              <a:solidFill>
                <a:prstClr val="white"/>
              </a:solidFill>
            </a:endParaRPr>
          </a:p>
        </p:txBody>
      </p:sp>
      <p:pic>
        <p:nvPicPr>
          <p:cNvPr id="9" name="Image 7">
            <a:extLst>
              <a:ext uri="{FF2B5EF4-FFF2-40B4-BE49-F238E27FC236}">
                <a16:creationId xmlns:a16="http://schemas.microsoft.com/office/drawing/2014/main" id="{50FF6B4E-147B-44B7-9DBF-165F1F9DA17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9425" y="384909"/>
            <a:ext cx="350404" cy="728841"/>
          </a:xfrm>
          <a:prstGeom prst="rect">
            <a:avLst/>
          </a:prstGeom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9B4238F4-92F8-490D-AB02-5F2264D511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17792" y="6216968"/>
            <a:ext cx="1422400" cy="243417"/>
          </a:xfrm>
        </p:spPr>
        <p:txBody>
          <a:bodyPr/>
          <a:lstStyle>
            <a:lvl1pPr>
              <a:defRPr>
                <a:solidFill>
                  <a:srgbClr val="5A5A5A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7/2024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F8B47C8-A049-4B23-88C0-7D21F1525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48000" y="6215151"/>
            <a:ext cx="8102480" cy="243417"/>
          </a:xfrm>
        </p:spPr>
        <p:txBody>
          <a:bodyPr/>
          <a:lstStyle>
            <a:lvl1pPr>
              <a:defRPr>
                <a:solidFill>
                  <a:srgbClr val="5A5A5A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D8E7E34-3212-47D5-ABE9-61DD5B092CED}"/>
              </a:ext>
            </a:extLst>
          </p:cNvPr>
          <p:cNvSpPr txBox="1">
            <a:spLocks/>
          </p:cNvSpPr>
          <p:nvPr userDrawn="1"/>
        </p:nvSpPr>
        <p:spPr>
          <a:xfrm>
            <a:off x="406400" y="6273800"/>
            <a:ext cx="704000" cy="163200"/>
          </a:xfrm>
          <a:prstGeom prst="rect">
            <a:avLst/>
          </a:prstGeom>
        </p:spPr>
        <p:txBody>
          <a:bodyPr vert="horz" lIns="45720" tIns="22860" rIns="0" bIns="22860" rtlCol="0" anchor="t" anchorCtr="0"/>
          <a:lstStyle>
            <a:defPPr>
              <a:defRPr lang="fr-FR"/>
            </a:defPPr>
            <a:lvl1pPr marL="0" algn="l" defTabSz="457200" rtl="0" eaLnBrk="1" latinLnBrk="0" hangingPunct="1">
              <a:defRPr sz="1200" kern="1200" baseline="0">
                <a:solidFill>
                  <a:srgbClr val="727272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rgbClr val="5A5A5A"/>
                </a:solidFill>
              </a:rPr>
              <a:t>© OECD |</a:t>
            </a:r>
            <a:endParaRPr lang="fr-FR" sz="800" dirty="0">
              <a:solidFill>
                <a:srgbClr val="5A5A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1684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B0C4-6273-4C6E-B9BD-2EDC30F1CD52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93;p1">
            <a:extLst>
              <a:ext uri="{FF2B5EF4-FFF2-40B4-BE49-F238E27FC236}">
                <a16:creationId xmlns:a16="http://schemas.microsoft.com/office/drawing/2014/main" id="{3A7E6C2D-657A-4718-801B-B80EE8F9349B}"/>
              </a:ext>
            </a:extLst>
          </p:cNvPr>
          <p:cNvSpPr/>
          <p:nvPr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rgbClr val="0062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4000" b="0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17" name="Image 12">
            <a:extLst>
              <a:ext uri="{FF2B5EF4-FFF2-40B4-BE49-F238E27FC236}">
                <a16:creationId xmlns:a16="http://schemas.microsoft.com/office/drawing/2014/main" id="{AFCBE01A-9925-4FE1-B311-B5B8F3979F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4000" y="2628370"/>
            <a:ext cx="2628000" cy="4229631"/>
          </a:xfrm>
          <a:prstGeom prst="rect">
            <a:avLst/>
          </a:prstGeom>
        </p:spPr>
      </p:pic>
      <p:pic>
        <p:nvPicPr>
          <p:cNvPr id="18" name="Image 13">
            <a:extLst>
              <a:ext uri="{FF2B5EF4-FFF2-40B4-BE49-F238E27FC236}">
                <a16:creationId xmlns:a16="http://schemas.microsoft.com/office/drawing/2014/main" id="{3C485161-5EF2-4F1D-B56D-79778C31F1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999" y="6037701"/>
            <a:ext cx="1742400" cy="5788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D1012FB-54CD-44BE-AC89-9E1D5CD69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83001" y="1790620"/>
            <a:ext cx="6975675" cy="900791"/>
          </a:xfrm>
        </p:spPr>
        <p:txBody>
          <a:bodyPr>
            <a:normAutofit/>
          </a:bodyPr>
          <a:lstStyle>
            <a:lvl1pPr>
              <a:defRPr sz="3600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F4F72BA-5C68-47E5-B690-AC72C16250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83001" y="3429001"/>
            <a:ext cx="6954963" cy="448201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Name and Contact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11AF5B-2BC8-4B42-9955-4F32433A3D36}"/>
              </a:ext>
            </a:extLst>
          </p:cNvPr>
          <p:cNvGrpSpPr/>
          <p:nvPr/>
        </p:nvGrpSpPr>
        <p:grpSpPr>
          <a:xfrm>
            <a:off x="444728" y="562847"/>
            <a:ext cx="2934985" cy="5572508"/>
            <a:chOff x="444727" y="562847"/>
            <a:chExt cx="2934985" cy="5572508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5F8C775-8EA5-41D9-8BA3-22755127F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44727" y="562847"/>
              <a:ext cx="2934985" cy="557250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432F892-72F7-4E8B-B3B2-10AA667478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59" t="34106" r="30951" b="30738"/>
            <a:stretch/>
          </p:blipFill>
          <p:spPr>
            <a:xfrm>
              <a:off x="1430866" y="2273300"/>
              <a:ext cx="1049868" cy="1062567"/>
            </a:xfrm>
            <a:prstGeom prst="ellipse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74824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08">
          <p15:clr>
            <a:srgbClr val="FBAE40"/>
          </p15:clr>
        </p15:guide>
        <p15:guide id="2" pos="6743">
          <p15:clr>
            <a:srgbClr val="FBAE40"/>
          </p15:clr>
        </p15:guide>
        <p15:guide id="3" pos="2320">
          <p15:clr>
            <a:srgbClr val="FBAE40"/>
          </p15:clr>
        </p15:guide>
        <p15:guide id="4" orient="horz" pos="170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-tête de section">
    <p:bg>
      <p:bgPr>
        <a:solidFill>
          <a:srgbClr val="006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924806" y="5328000"/>
            <a:ext cx="1267209" cy="15300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2801" y="468000"/>
            <a:ext cx="923077" cy="1440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80000" y="2919600"/>
            <a:ext cx="8832000" cy="1058400"/>
          </a:xfrm>
        </p:spPr>
        <p:txBody>
          <a:bodyPr anchor="ctr" anchorCtr="0"/>
          <a:lstStyle>
            <a:lvl1pPr algn="ctr">
              <a:lnSpc>
                <a:spcPts val="2775"/>
              </a:lnSpc>
              <a:defRPr sz="2775" b="0" i="0" cap="all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br>
              <a:rPr lang="fr-FR" dirty="0"/>
            </a:br>
            <a:r>
              <a:rPr lang="fr-FR" dirty="0"/>
              <a:t>Section Header </a:t>
            </a:r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25600" y="6411600"/>
            <a:ext cx="456000" cy="2448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ctr">
              <a:defRPr sz="900" baseline="0">
                <a:solidFill>
                  <a:srgbClr val="006299"/>
                </a:solidFill>
                <a:latin typeface="Arial"/>
              </a:defRPr>
            </a:lvl1pPr>
          </a:lstStyle>
          <a:p>
            <a:fld id="{40D92DE6-F1BA-F646-B74A-EF221A52AC34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2000" y="6411600"/>
            <a:ext cx="6240000" cy="244800"/>
          </a:xfrm>
          <a:prstGeom prst="rect">
            <a:avLst/>
          </a:prstGeom>
        </p:spPr>
        <p:txBody>
          <a:bodyPr vert="horz" lIns="0" tIns="45720" rIns="91440" bIns="45720" rtlCol="0" anchor="t" anchorCtr="0"/>
          <a:lstStyle>
            <a:lvl1pPr algn="l">
              <a:defRPr sz="900" kern="1200" baseline="0">
                <a:solidFill>
                  <a:schemeClr val="bg1"/>
                </a:solidFill>
                <a:latin typeface="Arial"/>
              </a:defRPr>
            </a:lvl1pPr>
          </a:lstStyle>
          <a:p>
            <a:r>
              <a:rPr lang="en-US"/>
              <a:t>Reinforcing trust through better regulatory delivery, March 15, 2022</a:t>
            </a:r>
            <a:endParaRPr lang="x-none"/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537600" y="6411600"/>
            <a:ext cx="1056000" cy="244800"/>
          </a:xfrm>
          <a:prstGeom prst="rect">
            <a:avLst/>
          </a:prstGeom>
        </p:spPr>
        <p:txBody>
          <a:bodyPr vert="horz" lIns="68580" tIns="34290" rIns="0" bIns="34290" rtlCol="0" anchor="t" anchorCtr="0"/>
          <a:lstStyle>
            <a:defPPr>
              <a:defRPr lang="fr-FR"/>
            </a:defPPr>
            <a:lvl1pPr marL="0" algn="l" defTabSz="457200" rtl="0" eaLnBrk="1" latinLnBrk="0" hangingPunct="1">
              <a:defRPr sz="1200" kern="1200" baseline="0">
                <a:solidFill>
                  <a:srgbClr val="727272"/>
                </a:solidFill>
                <a:latin typeface="Arial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>
                <a:solidFill>
                  <a:schemeClr val="bg1"/>
                </a:solidFill>
              </a:rPr>
              <a:t>© OECD |</a:t>
            </a:r>
            <a:endParaRPr lang="fr-FR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9490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solidFill>
          <a:srgbClr val="006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516"/>
            <a:ext cx="3504000" cy="422963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1603" y="432000"/>
            <a:ext cx="923076" cy="144000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000" y="2628516"/>
            <a:ext cx="3504000" cy="4229631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829" y="6030951"/>
            <a:ext cx="1959617" cy="6464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4000" y="3219257"/>
            <a:ext cx="8400000" cy="528350"/>
          </a:xfrm>
        </p:spPr>
        <p:txBody>
          <a:bodyPr wrap="square" anchor="b" anchorCtr="0">
            <a:spAutoFit/>
          </a:bodyPr>
          <a:lstStyle>
            <a:lvl1pPr>
              <a:lnSpc>
                <a:spcPts val="3376"/>
              </a:lnSpc>
              <a:defRPr sz="3376" b="0" cap="all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4000" y="3805205"/>
            <a:ext cx="8400000" cy="284693"/>
          </a:xfrm>
        </p:spPr>
        <p:txBody>
          <a:bodyPr wrap="square">
            <a:spAutoFit/>
          </a:bodyPr>
          <a:lstStyle>
            <a:lvl1pPr marL="0" indent="0" algn="l">
              <a:lnSpc>
                <a:spcPts val="1500"/>
              </a:lnSpc>
              <a:spcBef>
                <a:spcPts val="0"/>
              </a:spcBef>
              <a:buNone/>
              <a:defRPr sz="1350">
                <a:solidFill>
                  <a:schemeClr val="bg1"/>
                </a:solidFill>
                <a:latin typeface="Arial"/>
              </a:defRPr>
            </a:lvl1pPr>
            <a:lvl2pPr marL="342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tit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24005" y="6300007"/>
            <a:ext cx="844676" cy="2308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9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fld id="{B49D903F-1AF1-411E-85E2-CB1E6E8C8615}" type="datetime1">
              <a:rPr lang="it-IT" smtClean="0"/>
              <a:pPr/>
              <a:t>07/12/2024</a:t>
            </a:fld>
            <a:endParaRPr lang="x-none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3110400" y="6300000"/>
            <a:ext cx="5520000" cy="244800"/>
          </a:xfrm>
        </p:spPr>
        <p:txBody>
          <a:bodyPr rIns="0"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17" indent="0">
              <a:buNone/>
              <a:defRPr sz="900"/>
            </a:lvl2pPr>
            <a:lvl3pPr marL="685834" indent="0">
              <a:buNone/>
              <a:defRPr sz="750"/>
            </a:lvl3pPr>
            <a:lvl4pPr marL="1028751" indent="0">
              <a:buNone/>
              <a:defRPr sz="675"/>
            </a:lvl4pPr>
            <a:lvl5pPr marL="1371669" indent="0">
              <a:buNone/>
              <a:defRPr sz="675"/>
            </a:lvl5pPr>
            <a:lvl6pPr marL="1714586" indent="0">
              <a:buNone/>
              <a:defRPr sz="675"/>
            </a:lvl6pPr>
            <a:lvl7pPr marL="2057503" indent="0">
              <a:buNone/>
              <a:defRPr sz="675"/>
            </a:lvl7pPr>
            <a:lvl8pPr marL="2400420" indent="0">
              <a:buNone/>
              <a:defRPr sz="675"/>
            </a:lvl8pPr>
            <a:lvl9pPr marL="2743337" indent="0">
              <a:buNone/>
              <a:defRPr sz="675"/>
            </a:lvl9pPr>
          </a:lstStyle>
          <a:p>
            <a:pPr lvl="0"/>
            <a:r>
              <a:rPr lang="fr-FR" dirty="0"/>
              <a:t>Direction or </a:t>
            </a:r>
            <a:r>
              <a:rPr lang="fr-FR" dirty="0" err="1"/>
              <a:t>Department</a:t>
            </a:r>
            <a:r>
              <a:rPr lang="fr-FR" dirty="0"/>
              <a:t> </a:t>
            </a:r>
            <a:r>
              <a:rPr lang="fr-FR" dirty="0" err="1"/>
              <a:t>name</a:t>
            </a:r>
            <a:r>
              <a:rPr lang="fr-FR" dirty="0"/>
              <a:t> or Name of </a:t>
            </a:r>
            <a:r>
              <a:rPr lang="fr-FR" dirty="0" err="1"/>
              <a:t>autho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920148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8202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3750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304800" y="183092"/>
            <a:ext cx="5486400" cy="762001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112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1186481"/>
            <a:ext cx="10985500" cy="467391"/>
          </a:xfrm>
          <a:prstGeom prst="rect">
            <a:avLst/>
          </a:prstGeom>
        </p:spPr>
        <p:txBody>
          <a:bodyPr lIns="45718" tIns="45718" rIns="45718" bIns="45718"/>
          <a:lstStyle>
            <a:lvl1pPr marL="0" indent="0" defTabSz="412771">
              <a:spcBef>
                <a:spcPts val="0"/>
              </a:spcBef>
              <a:buSzTx/>
              <a:buFontTx/>
              <a:buNone/>
              <a:defRPr sz="2733" b="1"/>
            </a:lvl1pPr>
            <a:lvl2pPr marL="583775" indent="-278960" defTabSz="412771">
              <a:spcBef>
                <a:spcPts val="0"/>
              </a:spcBef>
              <a:buFontTx/>
              <a:defRPr sz="2733" b="1"/>
            </a:lvl2pPr>
            <a:lvl3pPr marL="869993" indent="-260363" defTabSz="412771">
              <a:spcBef>
                <a:spcPts val="0"/>
              </a:spcBef>
              <a:buFontTx/>
              <a:defRPr sz="2733" b="1"/>
            </a:lvl3pPr>
            <a:lvl4pPr marL="1226881" indent="-312435" defTabSz="412771">
              <a:spcBef>
                <a:spcPts val="0"/>
              </a:spcBef>
              <a:buFontTx/>
              <a:defRPr sz="2733" b="1"/>
            </a:lvl4pPr>
            <a:lvl5pPr marL="1531696" indent="-312435" defTabSz="412771">
              <a:spcBef>
                <a:spcPts val="0"/>
              </a:spcBef>
              <a:buFontTx/>
              <a:defRPr sz="2733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3" name="Body Level One…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</p:txBody>
      </p:sp>
      <p:sp>
        <p:nvSpPr>
          <p:cNvPr id="1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8949156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10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3250" y="1186481"/>
            <a:ext cx="10985500" cy="467391"/>
          </a:xfrm>
          <a:prstGeom prst="rect">
            <a:avLst/>
          </a:prstGeom>
        </p:spPr>
        <p:txBody>
          <a:bodyPr lIns="45718" tIns="45718" rIns="45718" bIns="45718"/>
          <a:lstStyle>
            <a:lvl1pPr marL="0" indent="0" defTabSz="412771">
              <a:spcBef>
                <a:spcPts val="0"/>
              </a:spcBef>
              <a:buSzTx/>
              <a:buFontTx/>
              <a:buNone/>
              <a:defRPr sz="2733" b="1"/>
            </a:lvl1pPr>
            <a:lvl2pPr marL="583775" indent="-278960" defTabSz="412771">
              <a:spcBef>
                <a:spcPts val="0"/>
              </a:spcBef>
              <a:buFontTx/>
              <a:defRPr sz="2733" b="1"/>
            </a:lvl2pPr>
            <a:lvl3pPr marL="869993" indent="-260363" defTabSz="412771">
              <a:spcBef>
                <a:spcPts val="0"/>
              </a:spcBef>
              <a:buFontTx/>
              <a:defRPr sz="2733" b="1"/>
            </a:lvl3pPr>
            <a:lvl4pPr marL="1226881" indent="-312435" defTabSz="412771">
              <a:spcBef>
                <a:spcPts val="0"/>
              </a:spcBef>
              <a:buFontTx/>
              <a:defRPr sz="2733" b="1"/>
            </a:lvl4pPr>
            <a:lvl5pPr marL="1531696" indent="-312435" defTabSz="412771">
              <a:spcBef>
                <a:spcPts val="0"/>
              </a:spcBef>
              <a:buFontTx/>
              <a:defRPr sz="2733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704812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1978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tx2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760202" y="6611676"/>
            <a:ext cx="384043" cy="215900"/>
          </a:xfrm>
        </p:spPr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 sz="1500">
                <a:latin typeface="Calibri" panose="020F0502020204030204" pitchFamily="34" charset="0"/>
              </a:defRPr>
            </a:lvl1pPr>
            <a:lvl2pPr>
              <a:defRPr sz="1500">
                <a:latin typeface="Calibri" panose="020F0502020204030204" pitchFamily="34" charset="0"/>
              </a:defRPr>
            </a:lvl2pPr>
            <a:lvl3pPr marL="271477" indent="-271477">
              <a:buFont typeface="Arial" panose="020B0604020202020204" pitchFamily="34" charset="0"/>
              <a:buChar char="•"/>
              <a:defRPr sz="1500">
                <a:latin typeface="Calibri" panose="020F0502020204030204" pitchFamily="34" charset="0"/>
              </a:defRPr>
            </a:lvl3pPr>
            <a:lvl4pPr>
              <a:defRPr sz="1500">
                <a:latin typeface="Calibri" panose="020F0502020204030204" pitchFamily="34" charset="0"/>
              </a:defRPr>
            </a:lvl4pPr>
            <a:lvl5pPr>
              <a:defRPr sz="1500">
                <a:latin typeface="Calibri" panose="020F0502020204030204" pitchFamily="34" charset="0"/>
              </a:defRPr>
            </a:lvl5pPr>
            <a:lvl6pPr>
              <a:defRPr sz="1500">
                <a:latin typeface="Calibri" panose="020F0502020204030204" pitchFamily="34" charset="0"/>
              </a:defRPr>
            </a:lvl6pPr>
          </a:lstStyle>
          <a:p>
            <a:pPr lvl="0"/>
            <a:r>
              <a:rPr lang="en-US" noProof="0" dirty="0" err="1"/>
              <a:t>Textmaster</a:t>
            </a:r>
            <a:endParaRPr lang="en-US" noProof="0" dirty="0"/>
          </a:p>
          <a:p>
            <a:pPr lvl="1"/>
            <a:r>
              <a:rPr lang="en-US" noProof="0" dirty="0"/>
              <a:t>Second Layer</a:t>
            </a:r>
          </a:p>
          <a:p>
            <a:pPr lvl="2"/>
            <a:r>
              <a:rPr lang="en-US" noProof="0" dirty="0"/>
              <a:t>Third Layer</a:t>
            </a:r>
          </a:p>
          <a:p>
            <a:pPr lvl="3"/>
            <a:r>
              <a:rPr lang="en-US" noProof="0" dirty="0"/>
              <a:t>Fourth Layer</a:t>
            </a:r>
          </a:p>
          <a:p>
            <a:pPr lvl="4"/>
            <a:r>
              <a:rPr lang="en-US" noProof="0" dirty="0"/>
              <a:t>Fifth Layer</a:t>
            </a:r>
          </a:p>
          <a:p>
            <a:pPr lvl="5"/>
            <a:r>
              <a:rPr lang="en-US" noProof="0" dirty="0"/>
              <a:t>6</a:t>
            </a:r>
          </a:p>
        </p:txBody>
      </p:sp>
      <p:sp>
        <p:nvSpPr>
          <p:cNvPr id="5" name="Rectangle 9"/>
          <p:cNvSpPr/>
          <p:nvPr userDrawn="1"/>
        </p:nvSpPr>
        <p:spPr>
          <a:xfrm>
            <a:off x="0" y="790893"/>
            <a:ext cx="12192000" cy="4572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84233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</a:lstStyle>
          <a:p>
            <a:pPr lvl="0" eaLnBrk="1" latinLnBrk="0" hangingPunct="1"/>
            <a:r>
              <a:rPr lang="fr-FR" dirty="0"/>
              <a:t>Cliquez pour modifier les styles du texte du masque</a:t>
            </a:r>
            <a:endParaRPr lang="en-US" dirty="0"/>
          </a:p>
          <a:p>
            <a:pPr lvl="1" eaLnBrk="1" latinLnBrk="0" hangingPunct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 eaLnBrk="1" latinLnBrk="0" hangingPunct="1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 eaLnBrk="1" latinLnBrk="0" hangingPunct="1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 eaLnBrk="1" latinLnBrk="0" hangingPunct="1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kumimoji="0"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37600" y="6411600"/>
            <a:ext cx="1200000" cy="2448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 baseline="0">
                <a:solidFill>
                  <a:srgbClr val="727272"/>
                </a:solidFill>
                <a:latin typeface="Arial"/>
              </a:defRPr>
            </a:lvl1pPr>
          </a:lstStyle>
          <a:p>
            <a:fld id="{98D27F1F-8FB9-9444-90B0-E87302C0F04D}" type="datetimeFigureOut">
              <a:rPr lang="it-IT" smtClean="0"/>
              <a:t>07/12/2024</a:t>
            </a:fld>
            <a:endParaRPr lang="it-IT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24000" y="6411600"/>
            <a:ext cx="6240000" cy="2448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 kern="1200" baseline="0">
                <a:solidFill>
                  <a:srgbClr val="727272"/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20000" y="6411600"/>
            <a:ext cx="456000" cy="244800"/>
          </a:xfrm>
          <a:prstGeom prst="rect">
            <a:avLst/>
          </a:prstGeom>
        </p:spPr>
        <p:txBody>
          <a:bodyPr vert="horz" wrap="none" lIns="91440" tIns="45720" rIns="91440" bIns="45720" rtlCol="0" anchor="t" anchorCtr="0"/>
          <a:lstStyle>
            <a:lvl1pPr algn="r">
              <a:defRPr sz="1000" baseline="0">
                <a:solidFill>
                  <a:schemeClr val="bg1"/>
                </a:solidFill>
                <a:latin typeface="Arial"/>
              </a:defRPr>
            </a:lvl1pPr>
          </a:lstStyle>
          <a:p>
            <a:fld id="{AD0F1C67-AE1F-DE43-8C91-55D39545A9DF}" type="slidenum">
              <a:rPr lang="it-IT" smtClean="0"/>
              <a:t>‹#›</a:t>
            </a:fld>
            <a:endParaRPr lang="it-IT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440000" y="237600"/>
            <a:ext cx="9888000" cy="1022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/>
              <a:t>Cliquez pour modifier le titre</a:t>
            </a:r>
            <a:br>
              <a:rPr lang="fr-FR" dirty="0"/>
            </a:br>
            <a:r>
              <a:rPr lang="fr-FR" dirty="0"/>
              <a:t>Le titre peut-être étendu sur deux lig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47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B4D41-86C1-4908-B66A-0B50CEB3BF29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PlaceHolder 1"/>
          <p:cNvSpPr>
            <a:spLocks noGrp="1"/>
          </p:cNvSpPr>
          <p:nvPr>
            <p:ph type="title"/>
          </p:nvPr>
        </p:nvSpPr>
        <p:spPr>
          <a:xfrm>
            <a:off x="2593080" y="624240"/>
            <a:ext cx="8911440" cy="128052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en-US" sz="1800" b="0" strike="noStrike" spc="-1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246" name="PlaceHolder 2"/>
          <p:cNvSpPr>
            <a:spLocks noGrp="1"/>
          </p:cNvSpPr>
          <p:nvPr>
            <p:ph type="body"/>
          </p:nvPr>
        </p:nvSpPr>
        <p:spPr>
          <a:xfrm>
            <a:off x="2589120" y="2133720"/>
            <a:ext cx="4350240" cy="377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1800" b="0" strike="noStrike" spc="-1">
              <a:solidFill>
                <a:srgbClr val="404040"/>
              </a:solidFill>
              <a:latin typeface="Century Gothic"/>
            </a:endParaRPr>
          </a:p>
        </p:txBody>
      </p:sp>
      <p:sp>
        <p:nvSpPr>
          <p:cNvPr id="247" name="PlaceHolder 3"/>
          <p:cNvSpPr>
            <a:spLocks noGrp="1"/>
          </p:cNvSpPr>
          <p:nvPr>
            <p:ph type="body"/>
          </p:nvPr>
        </p:nvSpPr>
        <p:spPr>
          <a:xfrm>
            <a:off x="7157160" y="2133720"/>
            <a:ext cx="4350240" cy="377712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1800" b="0" strike="noStrike" spc="-1">
              <a:solidFill>
                <a:srgbClr val="40404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1836772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6EBB71-1AEC-4D92-8A51-969FF0A7CB17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78360" y="135266"/>
            <a:ext cx="11311642" cy="4166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[Add slide title here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78361" y="1068019"/>
            <a:ext cx="10799188" cy="4972419"/>
          </a:xfrm>
          <a:prstGeom prst="rect">
            <a:avLst/>
          </a:prstGeom>
        </p:spPr>
        <p:txBody>
          <a:bodyPr anchor="ctr" anchorCtr="0"/>
          <a:lstStyle>
            <a:lvl1pPr marL="228600" indent="-228600">
              <a:buClr>
                <a:schemeClr val="accent1"/>
              </a:buClr>
              <a:buFont typeface="Bahnschrift SemiBold SemiConden" panose="020B0502040204020203" pitchFamily="34" charset="0"/>
              <a:buChar char="&gt;"/>
              <a:defRPr sz="1800" baseline="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SzPct val="60000"/>
              <a:buFont typeface="Arial" panose="020B0604020202020204" pitchFamily="34" charset="0"/>
              <a:buChar char="&gt;"/>
              <a:defRPr sz="1800" b="0">
                <a:solidFill>
                  <a:schemeClr val="tx1"/>
                </a:solidFill>
                <a:latin typeface="+mj-lt"/>
              </a:defRPr>
            </a:lvl2pPr>
            <a:lvl3pPr marL="1143000" indent="-228600">
              <a:buFont typeface="Wingdings" panose="05000000000000000000" pitchFamily="2" charset="2"/>
              <a:buChar char=""/>
              <a:defRPr sz="1800">
                <a:solidFill>
                  <a:schemeClr val="tx1"/>
                </a:solidFill>
                <a:latin typeface="+mj-lt"/>
              </a:defRPr>
            </a:lvl3pPr>
            <a:lvl4pPr marL="1600200" indent="-228600">
              <a:buFont typeface="Wingdings" panose="05000000000000000000" pitchFamily="2" charset="2"/>
              <a:buChar char=""/>
              <a:defRPr sz="180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GB" noProof="0" dirty="0"/>
              <a:t>[Type your text here]</a:t>
            </a:r>
          </a:p>
          <a:p>
            <a:pPr lvl="1"/>
            <a:r>
              <a:rPr lang="en-GB" noProof="0" dirty="0"/>
              <a:t>[Type your text here]</a:t>
            </a:r>
          </a:p>
          <a:p>
            <a:pPr lvl="2"/>
            <a:r>
              <a:rPr lang="en-GB" noProof="0" dirty="0"/>
              <a:t>[Type your text here]</a:t>
            </a:r>
          </a:p>
          <a:p>
            <a:pPr lvl="3"/>
            <a:r>
              <a:rPr lang="en-GB" noProof="0" dirty="0"/>
              <a:t>[Type your text here]</a:t>
            </a:r>
          </a:p>
        </p:txBody>
      </p:sp>
    </p:spTree>
    <p:extLst>
      <p:ext uri="{BB962C8B-B14F-4D97-AF65-F5344CB8AC3E}">
        <p14:creationId xmlns:p14="http://schemas.microsoft.com/office/powerpoint/2010/main" val="16384736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1"/>
          <a:stretch/>
        </p:blipFill>
        <p:spPr>
          <a:xfrm>
            <a:off x="0" y="674540"/>
            <a:ext cx="7770470" cy="550892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5092432"/>
            <a:ext cx="3662735" cy="2401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kern="1200" baseline="0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marL="0" lvl="0" algn="l" defTabSz="457200" rtl="0" eaLnBrk="1" latinLnBrk="0" hangingPunct="1"/>
            <a:r>
              <a:rPr lang="en-US"/>
              <a:t>Date / Supplementary Information</a:t>
            </a:r>
            <a:endParaRPr lang="en-CA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848600" y="2170710"/>
            <a:ext cx="4339540" cy="1603204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None/>
              <a:defRPr lang="en-CA" sz="3600" kern="1200" dirty="0">
                <a:solidFill>
                  <a:srgbClr val="76CEE8"/>
                </a:solidFill>
                <a:latin typeface="+mj-lt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Title</a:t>
            </a:r>
            <a:endParaRPr lang="en-CA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3773915"/>
            <a:ext cx="4339540" cy="648939"/>
          </a:xfrm>
          <a:prstGeom prst="rect">
            <a:avLst/>
          </a:prstGeom>
        </p:spPr>
        <p:txBody>
          <a:bodyPr anchor="t" anchorCtr="0"/>
          <a:lstStyle>
            <a:lvl1pPr marL="0" indent="0" algn="l" defTabSz="4572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CA" sz="2400" kern="12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Subtitle</a:t>
            </a:r>
            <a:endParaRPr lang="en-CA"/>
          </a:p>
        </p:txBody>
      </p:sp>
      <p:sp>
        <p:nvSpPr>
          <p:cNvPr id="7" name="Rectangle 6"/>
          <p:cNvSpPr/>
          <p:nvPr/>
        </p:nvSpPr>
        <p:spPr bwMode="auto">
          <a:xfrm>
            <a:off x="7848600" y="4751353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5082958"/>
            <a:ext cx="298705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9983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of Conte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239000" y="1769308"/>
            <a:ext cx="4241800" cy="40980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45720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81915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715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53352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954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Table of Contents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0" y="2626320"/>
            <a:ext cx="3617979" cy="72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anchor="b" anchorCtr="0">
            <a:noAutofit/>
          </a:bodyPr>
          <a:lstStyle>
            <a:lvl1pPr marL="0" algn="l" defTabSz="914400" rtl="0" eaLnBrk="0" fontAlgn="base" latinLnBrk="0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lang="en-US" sz="3600" kern="1200" baseline="0" dirty="0" smtClean="0">
                <a:solidFill>
                  <a:srgbClr val="76CEE8"/>
                </a:solidFill>
                <a:latin typeface="+mj-lt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0" y="3884006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286000" y="3419570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787092"/>
            <a:ext cx="298705" cy="25908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2" y="289367"/>
            <a:ext cx="1908052" cy="30571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630" y="3981758"/>
            <a:ext cx="323089" cy="188976"/>
          </a:xfrm>
          <a:prstGeom prst="rect">
            <a:avLst/>
          </a:prstGeom>
        </p:spPr>
      </p:pic>
      <p:sp>
        <p:nvSpPr>
          <p:cNvPr id="1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0" y="5301033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684929" y="685800"/>
            <a:ext cx="15408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ontents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123393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1"/>
          <a:stretch/>
        </p:blipFill>
        <p:spPr>
          <a:xfrm>
            <a:off x="0" y="674540"/>
            <a:ext cx="7770470" cy="550892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5092432"/>
            <a:ext cx="3662735" cy="2401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kern="1200" baseline="0" dirty="0" smtClean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marL="0" lvl="0" algn="l" defTabSz="457200" rtl="0" eaLnBrk="1" latinLnBrk="0" hangingPunct="1"/>
            <a:r>
              <a:rPr lang="en-US"/>
              <a:t>Date / Supplementary Information</a:t>
            </a:r>
            <a:endParaRPr lang="en-CA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848600" y="2170710"/>
            <a:ext cx="4339540" cy="1603204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None/>
              <a:defRPr lang="en-CA" sz="3600" kern="1200" dirty="0">
                <a:solidFill>
                  <a:schemeClr val="accent1"/>
                </a:solidFill>
                <a:latin typeface="+mj-lt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Title</a:t>
            </a:r>
            <a:endParaRPr lang="en-CA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3773915"/>
            <a:ext cx="4339540" cy="648939"/>
          </a:xfrm>
          <a:prstGeom prst="rect">
            <a:avLst/>
          </a:prstGeom>
        </p:spPr>
        <p:txBody>
          <a:bodyPr anchor="t" anchorCtr="0"/>
          <a:lstStyle>
            <a:lvl1pPr marL="0" indent="0" algn="l" defTabSz="4572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CA" sz="2400" kern="1200" dirty="0">
                <a:solidFill>
                  <a:schemeClr val="accent3"/>
                </a:solidFill>
                <a:latin typeface="+mj-lt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Subtitle</a:t>
            </a:r>
            <a:endParaRPr lang="en-CA"/>
          </a:p>
        </p:txBody>
      </p:sp>
      <p:sp>
        <p:nvSpPr>
          <p:cNvPr id="7" name="Rectangle 6"/>
          <p:cNvSpPr/>
          <p:nvPr/>
        </p:nvSpPr>
        <p:spPr bwMode="auto">
          <a:xfrm>
            <a:off x="7848600" y="4751353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5082958"/>
            <a:ext cx="298705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06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239000" y="1769308"/>
            <a:ext cx="4241800" cy="40980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45720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lang="en-US" sz="20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81915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715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53352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954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Table of Contents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0" y="2626320"/>
            <a:ext cx="3617979" cy="72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anchor="b" anchorCtr="0">
            <a:noAutofit/>
          </a:bodyPr>
          <a:lstStyle>
            <a:lvl1pPr marL="0" algn="l" defTabSz="914400" rtl="0" eaLnBrk="0" fontAlgn="base" latinLnBrk="0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lang="en-US" sz="3600" kern="1200" baseline="0" dirty="0" smtClean="0">
                <a:solidFill>
                  <a:schemeClr val="accent1"/>
                </a:solidFill>
                <a:latin typeface="+mj-lt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0" y="3884006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800" kern="1200" dirty="0" smtClean="0">
                <a:solidFill>
                  <a:schemeClr val="accent3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286000" y="3419570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787092"/>
            <a:ext cx="298705" cy="25908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2" y="289367"/>
            <a:ext cx="1908052" cy="30571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630" y="3981758"/>
            <a:ext cx="323089" cy="188976"/>
          </a:xfrm>
          <a:prstGeom prst="rect">
            <a:avLst/>
          </a:prstGeom>
        </p:spPr>
      </p:pic>
      <p:sp>
        <p:nvSpPr>
          <p:cNvPr id="1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0" y="5301033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400" kern="1200" dirty="0" smtClean="0">
                <a:solidFill>
                  <a:schemeClr val="accent1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684929" y="685800"/>
            <a:ext cx="15408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Contents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98009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5240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7492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574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1200" y="1071563"/>
            <a:ext cx="10769600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ub-title/Text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554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32575"/>
            <a:ext cx="3327400" cy="4276745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695960" y="1712791"/>
            <a:ext cx="3467448" cy="3444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4371514" y="1712791"/>
            <a:ext cx="3467448" cy="344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8047068" y="1712791"/>
            <a:ext cx="3467448" cy="34442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059696" y="1447800"/>
            <a:ext cx="2978904" cy="381000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2000" b="1">
                <a:solidFill>
                  <a:schemeClr val="accent1"/>
                </a:solidFill>
              </a:defRPr>
            </a:lvl1pPr>
            <a:lvl2pPr marL="914400" indent="-457200">
              <a:buFont typeface="+mj-lt"/>
              <a:buAutoNum type="arabicPeriod"/>
              <a:defRPr sz="2000"/>
            </a:lvl2pPr>
            <a:lvl3pPr marL="1371600" indent="-457200">
              <a:buFont typeface="+mj-lt"/>
              <a:buAutoNum type="arabicPeriod"/>
              <a:defRPr sz="2000"/>
            </a:lvl3pPr>
            <a:lvl4pPr marL="1828800" indent="-457200">
              <a:buFont typeface="+mj-lt"/>
              <a:buAutoNum type="arabicPeriod"/>
              <a:defRPr sz="2000"/>
            </a:lvl4pPr>
            <a:lvl5pPr marL="2286000" indent="-457200">
              <a:buFont typeface="+mj-lt"/>
              <a:buAutoNum type="arabicPeriod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840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5867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53779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4767263" y="1447800"/>
            <a:ext cx="292893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8456613" y="1447800"/>
            <a:ext cx="289718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343400" y="2032000"/>
            <a:ext cx="334327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2000">
                <a:solidFill>
                  <a:schemeClr val="accent1"/>
                </a:solidFill>
              </a:defRPr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accent1"/>
                </a:solidFill>
              </a:defRPr>
            </a:lvl4pPr>
            <a:lvl5pPr marL="2057400" indent="-228600"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105775" y="2032000"/>
            <a:ext cx="332422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2000">
                <a:solidFill>
                  <a:schemeClr val="accent1"/>
                </a:solidFill>
              </a:defRPr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accent1"/>
                </a:solidFill>
              </a:defRPr>
            </a:lvl4pPr>
            <a:lvl5pPr marL="2057400" indent="-228600"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6060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192118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09852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accent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accent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1"/>
          <a:stretch/>
        </p:blipFill>
        <p:spPr>
          <a:xfrm>
            <a:off x="0" y="674540"/>
            <a:ext cx="7770470" cy="550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5690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26E2C-56C1-4E0D-A793-0088A7FDD37E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1"/>
            <a:ext cx="7770470" cy="5506278"/>
          </a:xfrm>
          <a:prstGeom prst="rect">
            <a:avLst/>
          </a:prstGeom>
        </p:spPr>
      </p:pic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192118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09852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33097616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1"/>
            <a:ext cx="7770470" cy="55062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192118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09852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14910736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1"/>
            <a:ext cx="7770470" cy="55062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192118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09852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17561974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3"/>
            <a:ext cx="7770470" cy="55062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3657600"/>
            <a:ext cx="4267200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67200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7848600" y="3506075"/>
            <a:ext cx="841084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67200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765" y="441960"/>
            <a:ext cx="298705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461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3"/>
            <a:ext cx="7770470" cy="5506278"/>
          </a:xfrm>
          <a:prstGeom prst="rect">
            <a:avLst/>
          </a:prstGeom>
        </p:spPr>
      </p:pic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22" name="Rectangle 21"/>
          <p:cNvSpPr/>
          <p:nvPr/>
        </p:nvSpPr>
        <p:spPr bwMode="auto">
          <a:xfrm>
            <a:off x="7848600" y="3505200"/>
            <a:ext cx="838202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3657600"/>
            <a:ext cx="4267200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67200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67200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22091420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/Tex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437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/Text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4244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/Tex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10601986" y="225774"/>
            <a:ext cx="1426588" cy="26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5906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US" sz="2600">
                <a:solidFill>
                  <a:schemeClr val="bg1"/>
                </a:solidFill>
                <a:latin typeface="+mj-lt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172152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89828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9B41-D8B5-4052-B551-9B5525EAA8B6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148120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066732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206005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857500"/>
            <a:ext cx="11125200" cy="1143000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354541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es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533400"/>
            <a:ext cx="5791200" cy="57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1443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924" y="534924"/>
            <a:ext cx="5788152" cy="5788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3250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405275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/Tex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5606"/>
            <a:ext cx="12192000" cy="6852394"/>
          </a:xfrm>
          <a:prstGeom prst="rect">
            <a:avLst/>
          </a:prstGeom>
          <a:solidFill>
            <a:schemeClr val="accent1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502920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grpSp>
        <p:nvGrpSpPr>
          <p:cNvPr id="9" name="Group 11"/>
          <p:cNvGrpSpPr>
            <a:grpSpLocks noChangeAspect="1"/>
          </p:cNvGrpSpPr>
          <p:nvPr/>
        </p:nvGrpSpPr>
        <p:grpSpPr bwMode="auto">
          <a:xfrm>
            <a:off x="10591800" y="212090"/>
            <a:ext cx="1426530" cy="267918"/>
            <a:chOff x="1272" y="1858"/>
            <a:chExt cx="3216" cy="604"/>
          </a:xfrm>
          <a:solidFill>
            <a:schemeClr val="bg1"/>
          </a:solidFill>
        </p:grpSpPr>
        <p:sp>
          <p:nvSpPr>
            <p:cNvPr id="10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7333521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rs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xagon 3"/>
          <p:cNvSpPr>
            <a:spLocks noChangeAspect="1"/>
          </p:cNvSpPr>
          <p:nvPr/>
        </p:nvSpPr>
        <p:spPr>
          <a:xfrm rot="5400000">
            <a:off x="5305798" y="4013672"/>
            <a:ext cx="1537618" cy="3413727"/>
          </a:xfrm>
          <a:custGeom>
            <a:avLst/>
            <a:gdLst/>
            <a:ahLst/>
            <a:cxnLst/>
            <a:rect l="l" t="t" r="r" b="b"/>
            <a:pathLst>
              <a:path w="3075236" h="6828341">
                <a:moveTo>
                  <a:pt x="0" y="0"/>
                </a:moveTo>
                <a:lnTo>
                  <a:pt x="1368152" y="0"/>
                </a:lnTo>
                <a:lnTo>
                  <a:pt x="3075236" y="3414171"/>
                </a:lnTo>
                <a:lnTo>
                  <a:pt x="1368152" y="6828341"/>
                </a:lnTo>
                <a:lnTo>
                  <a:pt x="0" y="6828341"/>
                </a:lnTo>
                <a:lnTo>
                  <a:pt x="1707084" y="3414171"/>
                </a:lnTo>
                <a:close/>
              </a:path>
            </a:pathLst>
          </a:custGeom>
          <a:solidFill>
            <a:schemeClr val="accent3">
              <a:alpha val="5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2197" tIns="21098" rIns="42197" bIns="21098" rtlCol="0" anchor="ctr"/>
          <a:lstStyle/>
          <a:p>
            <a:pPr marL="0" marR="0" lvl="0" indent="0" algn="ctr" defTabSz="4792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Hexagon 3"/>
          <p:cNvSpPr>
            <a:spLocks noChangeAspect="1"/>
          </p:cNvSpPr>
          <p:nvPr/>
        </p:nvSpPr>
        <p:spPr>
          <a:xfrm rot="5400000">
            <a:off x="4441701" y="2249474"/>
            <a:ext cx="3265811" cy="3413727"/>
          </a:xfrm>
          <a:custGeom>
            <a:avLst/>
            <a:gdLst/>
            <a:ahLst/>
            <a:cxnLst/>
            <a:rect l="l" t="t" r="r" b="b"/>
            <a:pathLst>
              <a:path w="6531622" h="6828341">
                <a:moveTo>
                  <a:pt x="0" y="0"/>
                </a:moveTo>
                <a:lnTo>
                  <a:pt x="4824536" y="0"/>
                </a:lnTo>
                <a:lnTo>
                  <a:pt x="6531622" y="3414171"/>
                </a:lnTo>
                <a:lnTo>
                  <a:pt x="4824536" y="6828341"/>
                </a:lnTo>
                <a:lnTo>
                  <a:pt x="0" y="6828341"/>
                </a:lnTo>
                <a:lnTo>
                  <a:pt x="1707086" y="3414171"/>
                </a:lnTo>
                <a:close/>
              </a:path>
            </a:pathLst>
          </a:custGeom>
          <a:solidFill>
            <a:schemeClr val="accent2">
              <a:alpha val="5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2197" tIns="21098" rIns="42197" bIns="21098" rtlCol="0" anchor="ctr"/>
          <a:lstStyle/>
          <a:p>
            <a:pPr marL="0" marR="0" lvl="0" indent="0" algn="ctr" defTabSz="4792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Hexagon 3"/>
          <p:cNvSpPr>
            <a:spLocks noChangeAspect="1"/>
          </p:cNvSpPr>
          <p:nvPr/>
        </p:nvSpPr>
        <p:spPr>
          <a:xfrm rot="5400000">
            <a:off x="3080216" y="-1033219"/>
            <a:ext cx="5988782" cy="3413727"/>
          </a:xfrm>
          <a:custGeom>
            <a:avLst/>
            <a:gdLst/>
            <a:ahLst/>
            <a:cxnLst/>
            <a:rect l="l" t="t" r="r" b="b"/>
            <a:pathLst>
              <a:path w="11977563" h="6828341">
                <a:moveTo>
                  <a:pt x="0" y="0"/>
                </a:moveTo>
                <a:lnTo>
                  <a:pt x="10270477" y="0"/>
                </a:lnTo>
                <a:lnTo>
                  <a:pt x="11977563" y="3414171"/>
                </a:lnTo>
                <a:lnTo>
                  <a:pt x="10270477" y="6828341"/>
                </a:lnTo>
                <a:lnTo>
                  <a:pt x="0" y="68283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2197" tIns="21098" rIns="42197" bIns="21098" rtlCol="0" anchor="ctr"/>
          <a:lstStyle/>
          <a:p>
            <a:pPr marL="0" marR="0" lvl="0" indent="0" algn="ctr" defTabSz="4792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Hexagon 3"/>
          <p:cNvSpPr>
            <a:spLocks noChangeAspect="1"/>
          </p:cNvSpPr>
          <p:nvPr/>
        </p:nvSpPr>
        <p:spPr>
          <a:xfrm rot="5400000">
            <a:off x="5312295" y="1209300"/>
            <a:ext cx="1537618" cy="3413727"/>
          </a:xfrm>
          <a:custGeom>
            <a:avLst/>
            <a:gdLst/>
            <a:ahLst/>
            <a:cxnLst/>
            <a:rect l="l" t="t" r="r" b="b"/>
            <a:pathLst>
              <a:path w="3075236" h="6828341">
                <a:moveTo>
                  <a:pt x="0" y="0"/>
                </a:moveTo>
                <a:lnTo>
                  <a:pt x="1368152" y="0"/>
                </a:lnTo>
                <a:lnTo>
                  <a:pt x="3075236" y="3414171"/>
                </a:lnTo>
                <a:lnTo>
                  <a:pt x="1368152" y="6828341"/>
                </a:lnTo>
                <a:lnTo>
                  <a:pt x="0" y="6828341"/>
                </a:lnTo>
                <a:lnTo>
                  <a:pt x="1707084" y="341417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2197" tIns="21098" rIns="42197" bIns="21098" rtlCol="0" anchor="ctr"/>
          <a:lstStyle/>
          <a:p>
            <a:pPr marL="0" marR="0" lvl="0" indent="0" algn="ctr" defTabSz="4792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 Placeholder 7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5229842" y="512677"/>
            <a:ext cx="1802141" cy="982100"/>
          </a:xfrm>
          <a:prstGeom prst="rect">
            <a:avLst/>
          </a:prstGeom>
        </p:spPr>
        <p:txBody>
          <a:bodyPr vert="horz" wrap="square"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539" b="0" i="0">
                <a:solidFill>
                  <a:schemeClr val="bg1"/>
                </a:solidFill>
                <a:latin typeface="FontAwesome"/>
                <a:cs typeface="FontAwesome"/>
              </a:defRPr>
            </a:lvl1pPr>
          </a:lstStyle>
          <a:p>
            <a:pPr lvl="0"/>
            <a:r>
              <a:rPr lang="es-ES_tradnl" err="1"/>
              <a:t>icon</a:t>
            </a:r>
            <a:endParaRPr lang="es-ES_tradnl"/>
          </a:p>
        </p:txBody>
      </p:sp>
      <p:sp>
        <p:nvSpPr>
          <p:cNvPr id="10" name="Text Placeholder 7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505547" y="1737416"/>
            <a:ext cx="3102424" cy="431780"/>
          </a:xfrm>
          <a:prstGeom prst="rect">
            <a:avLst/>
          </a:prstGeom>
        </p:spPr>
        <p:txBody>
          <a:bodyPr vert="horz" lIns="0" tIns="51921" rIns="0" bIns="51921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1" baseline="0">
                <a:solidFill>
                  <a:schemeClr val="bg1"/>
                </a:solidFill>
                <a:latin typeface="Lato"/>
                <a:cs typeface="Lato"/>
              </a:defRPr>
            </a:lvl1pPr>
          </a:lstStyle>
          <a:p>
            <a:pPr lvl="0"/>
            <a:r>
              <a:rPr lang="es-ES_tradnl"/>
              <a:t>TITLE</a:t>
            </a:r>
          </a:p>
        </p:txBody>
      </p:sp>
      <p:sp>
        <p:nvSpPr>
          <p:cNvPr id="11" name="Text Placeholder 7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606457" y="3842358"/>
            <a:ext cx="3001515" cy="228451"/>
          </a:xfrm>
          <a:prstGeom prst="rect">
            <a:avLst/>
          </a:prstGeom>
        </p:spPr>
        <p:txBody>
          <a:bodyPr vert="horz" lIns="0" tIns="51921" rIns="0" bIns="51921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accent3">
                    <a:lumMod val="50000"/>
                    <a:lumOff val="50000"/>
                  </a:schemeClr>
                </a:solidFill>
                <a:latin typeface="Lato Light"/>
                <a:cs typeface="Lato Light"/>
              </a:defRPr>
            </a:lvl1pPr>
          </a:lstStyle>
          <a:p>
            <a:pPr lvl="0"/>
            <a:r>
              <a:rPr lang="es-ES_tradnl" err="1"/>
              <a:t>Subtitle</a:t>
            </a:r>
            <a:r>
              <a:rPr lang="es-ES_tradnl"/>
              <a:t> </a:t>
            </a:r>
            <a:r>
              <a:rPr lang="es-ES_tradnl" err="1"/>
              <a:t>Example</a:t>
            </a:r>
            <a:r>
              <a:rPr lang="es-ES_tradnl"/>
              <a:t> </a:t>
            </a:r>
            <a:r>
              <a:rPr lang="es-ES_tradnl" err="1"/>
              <a:t>Here</a:t>
            </a:r>
            <a:endParaRPr lang="es-ES_tradnl"/>
          </a:p>
        </p:txBody>
      </p:sp>
      <p:sp>
        <p:nvSpPr>
          <p:cNvPr id="12" name="Text Placeholder 2"/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4606457" y="4142816"/>
            <a:ext cx="3001515" cy="9063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923">
                <a:solidFill>
                  <a:schemeClr val="bg1"/>
                </a:solidFill>
                <a:latin typeface="Lato Regular"/>
                <a:cs typeface="Lato Regular"/>
              </a:defRPr>
            </a:lvl1pPr>
          </a:lstStyle>
          <a:p>
            <a:pPr lvl="0"/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</a:t>
            </a:r>
            <a:r>
              <a:rPr lang="en-US" err="1"/>
              <a:t>placerat</a:t>
            </a:r>
            <a:r>
              <a:rPr lang="en-US"/>
              <a:t> in at ligula. </a:t>
            </a:r>
            <a:r>
              <a:rPr lang="en-US" err="1"/>
              <a:t>Donec</a:t>
            </a:r>
            <a:r>
              <a:rPr lang="en-US"/>
              <a:t> </a:t>
            </a:r>
            <a:r>
              <a:rPr lang="en-US" err="1"/>
              <a:t>auctor</a:t>
            </a:r>
            <a:r>
              <a:rPr lang="en-US"/>
              <a:t> magna </a:t>
            </a:r>
            <a:r>
              <a:rPr lang="en-US" err="1"/>
              <a:t>nec</a:t>
            </a:r>
            <a:r>
              <a:rPr lang="en-US"/>
              <a:t> lacu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In </a:t>
            </a:r>
            <a:r>
              <a:rPr lang="en-US" err="1"/>
              <a:t>pulvinar</a:t>
            </a:r>
            <a:r>
              <a:rPr lang="en-US"/>
              <a:t> quam vitae</a:t>
            </a:r>
          </a:p>
        </p:txBody>
      </p:sp>
      <p:cxnSp>
        <p:nvCxnSpPr>
          <p:cNvPr id="7" name="Straight Connector 6"/>
          <p:cNvCxnSpPr>
            <a:cxnSpLocks noChangeAspect="1"/>
          </p:cNvCxnSpPr>
          <p:nvPr/>
        </p:nvCxnSpPr>
        <p:spPr>
          <a:xfrm flipH="1">
            <a:off x="5164228" y="2348880"/>
            <a:ext cx="1867755" cy="0"/>
          </a:xfrm>
          <a:prstGeom prst="line">
            <a:avLst/>
          </a:prstGeom>
          <a:ln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631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3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3" grpId="0" animBg="1"/>
      <p:bldP spid="14" grpId="0" animBg="1"/>
      <p:bldP spid="4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400"/>
                        <p:tgtEl>
                          <p:spTgt spid="10"/>
                        </p:tgtEl>
                      </p:cBhvr>
                    </p:animEffect>
                    <p:anim calcmode="lin" valueType="num">
                      <p:cBhvr>
                        <p:cTn dur="4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oad A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3" r="1824"/>
          <a:stretch/>
        </p:blipFill>
        <p:spPr>
          <a:xfrm>
            <a:off x="-48684" y="112"/>
            <a:ext cx="12289367" cy="685788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18998" y="0"/>
            <a:ext cx="12210999" cy="6857888"/>
          </a:xfrm>
          <a:prstGeom prst="rect">
            <a:avLst/>
          </a:prstGeom>
          <a:solidFill>
            <a:srgbClr val="4C5B74">
              <a:alpha val="80000"/>
            </a:srgbClr>
          </a:solidFill>
          <a:ln/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8723" y="358759"/>
            <a:ext cx="10769599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4400" b="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Segoe UI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35360" y="1916832"/>
            <a:ext cx="11329259" cy="3816424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lang="en-US" sz="2000" kern="1200" dirty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35360" y="1147728"/>
            <a:ext cx="10769600" cy="5570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kern="1200" dirty="0" smtClean="0">
                <a:solidFill>
                  <a:schemeClr val="accent5"/>
                </a:solidFill>
                <a:latin typeface="+mj-lt"/>
                <a:ea typeface="Gulim" panose="020B0600000101010101" pitchFamily="34" charset="-127"/>
                <a:cs typeface="+mn-cs"/>
              </a:defRPr>
            </a:lvl1pPr>
            <a:lvl2pPr marL="36195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l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2232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4136C-8742-45B2-AF27-D93DF72833A9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Road A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3" r="1824"/>
          <a:stretch/>
        </p:blipFill>
        <p:spPr>
          <a:xfrm>
            <a:off x="-48684" y="112"/>
            <a:ext cx="12289367" cy="685788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-48684" y="112"/>
            <a:ext cx="12289367" cy="6857888"/>
          </a:xfrm>
          <a:prstGeom prst="rect">
            <a:avLst/>
          </a:prstGeom>
          <a:solidFill>
            <a:srgbClr val="4C5B74">
              <a:alpha val="50000"/>
            </a:srgbClr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8723" y="358759"/>
            <a:ext cx="10769599" cy="66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4400" b="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Segoe UI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35360" y="1916832"/>
            <a:ext cx="11329259" cy="3816424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lang="en-US" sz="2000" kern="1200" dirty="0">
                <a:solidFill>
                  <a:schemeClr val="bg1"/>
                </a:solidFill>
                <a:latin typeface="+mj-lt"/>
                <a:ea typeface="Gulim" panose="020B0600000101010101" pitchFamily="34" charset="-127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35360" y="1147728"/>
            <a:ext cx="10769600" cy="5570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kern="1200" dirty="0" smtClean="0">
                <a:solidFill>
                  <a:schemeClr val="accent5"/>
                </a:solidFill>
                <a:latin typeface="+mj-lt"/>
                <a:ea typeface="Gulim" panose="020B0600000101010101" pitchFamily="34" charset="-127"/>
                <a:cs typeface="+mn-cs"/>
              </a:defRPr>
            </a:lvl1pPr>
            <a:lvl2pPr marL="36195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l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50311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entury Gothic" panose="020B0502020202020204" pitchFamily="34" charset="0"/>
                <a:ea typeface="ＭＳ Ｐゴシック" pitchFamily="34" charset="-128"/>
                <a:cs typeface="Century Gothic" panose="020B050202020202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493772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entury Gothic" panose="020B0502020202020204" pitchFamily="34" charset="0"/>
                <a:cs typeface="Century Gothic" panose="020B050202020202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713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/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32575"/>
            <a:ext cx="3327400" cy="4276745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695960" y="1712791"/>
            <a:ext cx="3467448" cy="3444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4371514" y="1712791"/>
            <a:ext cx="3467448" cy="344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8047068" y="1712791"/>
            <a:ext cx="3467448" cy="34442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059696" y="1447800"/>
            <a:ext cx="2978904" cy="381000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2000" b="1">
                <a:solidFill>
                  <a:schemeClr val="accent1"/>
                </a:solidFill>
              </a:defRPr>
            </a:lvl1pPr>
            <a:lvl2pPr marL="914400" indent="-457200">
              <a:buFont typeface="+mj-lt"/>
              <a:buAutoNum type="arabicPeriod"/>
              <a:defRPr sz="2000"/>
            </a:lvl2pPr>
            <a:lvl3pPr marL="1371600" indent="-457200">
              <a:buFont typeface="+mj-lt"/>
              <a:buAutoNum type="arabicPeriod"/>
              <a:defRPr sz="2000"/>
            </a:lvl3pPr>
            <a:lvl4pPr marL="1828800" indent="-457200">
              <a:buFont typeface="+mj-lt"/>
              <a:buAutoNum type="arabicPeriod"/>
              <a:defRPr sz="2000"/>
            </a:lvl4pPr>
            <a:lvl5pPr marL="2286000" indent="-457200">
              <a:buFont typeface="+mj-lt"/>
              <a:buAutoNum type="arabicPeriod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840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5867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53779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4767263" y="1447800"/>
            <a:ext cx="292893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8456613" y="1447800"/>
            <a:ext cx="289718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/>
          </p:nvPr>
        </p:nvSpPr>
        <p:spPr>
          <a:xfrm>
            <a:off x="4343400" y="2032000"/>
            <a:ext cx="334327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/>
            </a:lvl1pPr>
            <a:lvl2pPr>
              <a:buClr>
                <a:schemeClr val="accent1"/>
              </a:buClr>
              <a:defRPr sz="2000"/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/>
            </a:lvl3pPr>
            <a:lvl4pPr>
              <a:buClr>
                <a:schemeClr val="tx2"/>
              </a:buClr>
              <a:defRPr sz="2000"/>
            </a:lvl4pPr>
            <a:lvl5pPr marL="2057400" indent="-228600">
              <a:buFont typeface="Courier New" panose="02070309020205020404" pitchFamily="49" charset="0"/>
              <a:buChar char="o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/>
          </p:nvPr>
        </p:nvSpPr>
        <p:spPr>
          <a:xfrm>
            <a:off x="8105775" y="2032000"/>
            <a:ext cx="332422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/>
            </a:lvl1pPr>
            <a:lvl2pPr>
              <a:buClr>
                <a:schemeClr val="accent1"/>
              </a:buClr>
              <a:defRPr sz="2000"/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/>
            </a:lvl3pPr>
            <a:lvl4pPr>
              <a:buClr>
                <a:schemeClr val="tx2"/>
              </a:buClr>
              <a:defRPr sz="2000"/>
            </a:lvl4pPr>
            <a:lvl5pPr marL="2057400" indent="-228600">
              <a:buFont typeface="Courier New" panose="02070309020205020404" pitchFamily="49" charset="0"/>
              <a:buChar char="o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5975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400"/>
            <a:ext cx="12192000" cy="6855600"/>
          </a:xfrm>
          <a:prstGeom prst="rect">
            <a:avLst/>
          </a:prstGeom>
          <a:solidFill>
            <a:schemeClr val="accent1"/>
          </a:solidFill>
          <a:ln/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1"/>
          <a:stretch/>
        </p:blipFill>
        <p:spPr>
          <a:xfrm>
            <a:off x="0" y="674540"/>
            <a:ext cx="7770470" cy="5508920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5092432"/>
            <a:ext cx="3662735" cy="24013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1800" kern="1200" baseline="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marL="0" lvl="0" algn="l" defTabSz="457200" rtl="0" eaLnBrk="1" latinLnBrk="0" hangingPunct="1"/>
            <a:r>
              <a:rPr lang="en-US"/>
              <a:t>Supplementary Information</a:t>
            </a:r>
            <a:endParaRPr lang="en-CA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848600" y="2170710"/>
            <a:ext cx="4339540" cy="1603204"/>
          </a:xfrm>
          <a:prstGeom prst="rect">
            <a:avLst/>
          </a:prstGeom>
        </p:spPr>
        <p:txBody>
          <a:bodyPr anchor="ctr"/>
          <a:lstStyle>
            <a:lvl1pPr marL="0" indent="0" algn="l" rtl="0" eaLnBrk="0" fontAlgn="base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None/>
              <a:defRPr lang="en-CA" sz="3600" kern="1200" dirty="0">
                <a:solidFill>
                  <a:srgbClr val="76CEE8"/>
                </a:solidFill>
                <a:latin typeface="Calibri" panose="020F0502020204030204" pitchFamily="34" charset="0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Title</a:t>
            </a:r>
            <a:endParaRPr lang="en-CA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3773915"/>
            <a:ext cx="4339540" cy="648939"/>
          </a:xfrm>
          <a:prstGeom prst="rect">
            <a:avLst/>
          </a:prstGeom>
        </p:spPr>
        <p:txBody>
          <a:bodyPr anchor="t" anchorCtr="0"/>
          <a:lstStyle>
            <a:lvl1pPr marL="0" indent="0" algn="l" defTabSz="4572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CA" sz="2400" kern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Subtitle</a:t>
            </a:r>
            <a:endParaRPr lang="en-CA"/>
          </a:p>
        </p:txBody>
      </p:sp>
      <p:sp>
        <p:nvSpPr>
          <p:cNvPr id="7" name="Rectangle 6"/>
          <p:cNvSpPr/>
          <p:nvPr/>
        </p:nvSpPr>
        <p:spPr bwMode="auto">
          <a:xfrm>
            <a:off x="7848600" y="4751353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5082958"/>
            <a:ext cx="298705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4565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400"/>
            <a:ext cx="12192000" cy="6855600"/>
          </a:xfrm>
          <a:prstGeom prst="rect">
            <a:avLst/>
          </a:prstGeom>
          <a:solidFill>
            <a:schemeClr val="accent1"/>
          </a:solidFill>
          <a:ln/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239000" y="1769308"/>
            <a:ext cx="4241800" cy="409809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45720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819150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11715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53352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AutoNum type="arabicPeriod"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895475" indent="-457200" algn="l" rtl="0" eaLnBrk="0" fontAlgn="base" hangingPunct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0" y="2626320"/>
            <a:ext cx="3617979" cy="72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anchor="b" anchorCtr="0">
            <a:noAutofit/>
          </a:bodyPr>
          <a:lstStyle>
            <a:lvl1pPr marL="0" algn="l" defTabSz="914400" rtl="0" eaLnBrk="0" fontAlgn="base" latinLnBrk="0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lang="en-US" sz="3600" kern="1200" baseline="0" dirty="0" smtClean="0">
                <a:solidFill>
                  <a:srgbClr val="76CEE8"/>
                </a:solidFill>
                <a:latin typeface="Calibri" panose="020F0502020204030204" pitchFamily="34" charset="0"/>
                <a:ea typeface="Kozuka Gothic Pr6N H" panose="020B0800000000000000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0" y="3884006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2286000" y="3419570"/>
            <a:ext cx="2057400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478" y="787092"/>
            <a:ext cx="298705" cy="25908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2" y="289367"/>
            <a:ext cx="1908052" cy="30571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630" y="3981758"/>
            <a:ext cx="323089" cy="188976"/>
          </a:xfrm>
          <a:prstGeom prst="rect">
            <a:avLst/>
          </a:prstGeom>
        </p:spPr>
      </p:pic>
      <p:sp>
        <p:nvSpPr>
          <p:cNvPr id="1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0" y="5301033"/>
            <a:ext cx="3617979" cy="66940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+mj-lt"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Arial Narrow Bold"/>
                <a:cs typeface="Calibri" pitchFamily="34" charset="0"/>
              </a:defRPr>
            </a:lvl1pPr>
            <a:lvl2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2pPr>
            <a:lvl3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3pPr>
            <a:lvl4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Font typeface="+mj-lt"/>
              <a:buNone/>
              <a:defRPr lang="en-US" sz="1600" kern="1200" dirty="0" smtClean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4pPr>
            <a:lvl5pPr marL="0" indent="0" algn="l" defTabSz="457200" rtl="0" eaLnBrk="1" fontAlgn="base" latinLnBrk="0" hangingPunct="1">
              <a:spcBef>
                <a:spcPts val="1200"/>
              </a:spcBef>
              <a:spcAft>
                <a:spcPts val="600"/>
              </a:spcAft>
              <a:buFont typeface="+mj-lt"/>
              <a:buNone/>
              <a:defRPr lang="en-US" sz="1600" kern="1200" dirty="0">
                <a:solidFill>
                  <a:schemeClr val="bg1"/>
                </a:solidFill>
                <a:latin typeface="Lato Light" panose="020F0302020204030203" pitchFamily="34" charset="0"/>
                <a:ea typeface="Arial Narrow Bold"/>
                <a:cs typeface="Calibri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684929" y="685800"/>
            <a:ext cx="11294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210304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493772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3271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Text/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441960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 bwMode="auto">
          <a:xfrm>
            <a:off x="711199" y="5943600"/>
            <a:ext cx="10769601" cy="6096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066800" y="5943600"/>
            <a:ext cx="10134600" cy="5889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42424641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57400"/>
            <a:ext cx="10769600" cy="425192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1200" y="1071563"/>
            <a:ext cx="10769600" cy="833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ub-title/Text</a:t>
            </a:r>
          </a:p>
        </p:txBody>
      </p:sp>
    </p:spTree>
    <p:extLst>
      <p:ext uri="{BB962C8B-B14F-4D97-AF65-F5344CB8AC3E}">
        <p14:creationId xmlns:p14="http://schemas.microsoft.com/office/powerpoint/2010/main" val="28061758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/Subtitle/Text/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57400"/>
            <a:ext cx="10769600" cy="381000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1200" y="1071563"/>
            <a:ext cx="10769600" cy="8334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ub-title/Text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711199" y="5943600"/>
            <a:ext cx="10769601" cy="6096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90600" y="5943600"/>
            <a:ext cx="10210800" cy="58896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Takeaway</a:t>
            </a:r>
          </a:p>
        </p:txBody>
      </p:sp>
    </p:spTree>
    <p:extLst>
      <p:ext uri="{BB962C8B-B14F-4D97-AF65-F5344CB8AC3E}">
        <p14:creationId xmlns:p14="http://schemas.microsoft.com/office/powerpoint/2010/main" val="15911060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bg>
      <p:bgPr>
        <a:solidFill>
          <a:srgbClr val="0021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98800" y="1028700"/>
            <a:ext cx="9906000" cy="6375400"/>
            <a:chOff x="6280950" y="3095745"/>
            <a:chExt cx="6038050" cy="396545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3400" y="3437466"/>
              <a:ext cx="5435600" cy="3623734"/>
            </a:xfrm>
            <a:prstGeom prst="rect">
              <a:avLst/>
            </a:prstGeom>
            <a:effectLst>
              <a:softEdge rad="330200"/>
            </a:effectLst>
          </p:spPr>
        </p:pic>
        <p:sp>
          <p:nvSpPr>
            <p:cNvPr id="4" name="Oval 3"/>
            <p:cNvSpPr/>
            <p:nvPr/>
          </p:nvSpPr>
          <p:spPr bwMode="auto">
            <a:xfrm>
              <a:off x="6280950" y="3095745"/>
              <a:ext cx="3752050" cy="2461181"/>
            </a:xfrm>
            <a:prstGeom prst="ellipse">
              <a:avLst/>
            </a:prstGeom>
            <a:solidFill>
              <a:srgbClr val="002132"/>
            </a:solidFill>
            <a:ln w="12699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>
              <a:softEdge rad="127000"/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CA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sp>
        <p:nvSpPr>
          <p:cNvPr id="5" name="Rectangle 4"/>
          <p:cNvSpPr/>
          <p:nvPr/>
        </p:nvSpPr>
        <p:spPr bwMode="auto">
          <a:xfrm>
            <a:off x="4087177" y="1534523"/>
            <a:ext cx="8509000" cy="5600699"/>
          </a:xfrm>
          <a:prstGeom prst="rect">
            <a:avLst/>
          </a:prstGeom>
          <a:solidFill>
            <a:srgbClr val="002132">
              <a:alpha val="44000"/>
            </a:srgbClr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59156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32ABBEA6-7C60-4B02-AE87-00D78D8422AF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916832"/>
            <a:ext cx="10769600" cy="4392488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11197" y="1215744"/>
            <a:ext cx="10769600" cy="5570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kern="1200" dirty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195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l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1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sp>
        <p:nvSpPr>
          <p:cNvPr id="1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717229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916832"/>
            <a:ext cx="10769600" cy="4392488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lang="en-US" sz="20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11197" y="1215744"/>
            <a:ext cx="10769600" cy="55707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kern="1200" dirty="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195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l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1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800" y="215072"/>
            <a:ext cx="1427417" cy="265445"/>
          </a:xfrm>
          <a:prstGeom prst="rect">
            <a:avLst/>
          </a:prstGeom>
        </p:spPr>
      </p:pic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429838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 descr=" "/>
          <p:cNvSpPr/>
          <p:nvPr/>
        </p:nvSpPr>
        <p:spPr>
          <a:xfrm>
            <a:off x="1" y="6454938"/>
            <a:ext cx="11480799" cy="403062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pic>
        <p:nvPicPr>
          <p:cNvPr id="22" name="Picture 21" descr="OPTIMUS SBR logo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327"/>
          <a:stretch/>
        </p:blipFill>
        <p:spPr>
          <a:xfrm>
            <a:off x="79518" y="6470859"/>
            <a:ext cx="2512407" cy="323499"/>
          </a:xfrm>
          <a:prstGeom prst="rect">
            <a:avLst/>
          </a:prstGeom>
        </p:spPr>
      </p:pic>
      <p:sp>
        <p:nvSpPr>
          <p:cNvPr id="23" name="Rectangle 22" descr=" "/>
          <p:cNvSpPr/>
          <p:nvPr/>
        </p:nvSpPr>
        <p:spPr>
          <a:xfrm>
            <a:off x="11480800" y="6454938"/>
            <a:ext cx="711200" cy="4030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320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381000"/>
            <a:ext cx="10769599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 smtClean="0">
                <a:solidFill>
                  <a:schemeClr val="accent4"/>
                </a:solidFill>
                <a:latin typeface="Segoe UI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4937720"/>
          </a:xfrm>
          <a:prstGeom prst="rect">
            <a:avLst/>
          </a:prstGeom>
        </p:spPr>
        <p:txBody>
          <a:bodyPr>
            <a:noAutofit/>
          </a:bodyPr>
          <a:lstStyle>
            <a:lvl1pPr marL="265113" indent="-265113" algn="l" rtl="0" eaLnBrk="0" fontAlgn="base" hangingPunct="0">
              <a:spcBef>
                <a:spcPts val="1200"/>
              </a:spcBef>
              <a:spcAft>
                <a:spcPts val="0"/>
              </a:spcAft>
              <a:buClr>
                <a:schemeClr val="accent4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Wingdings" pitchFamily="2" charset="2"/>
              <a:buChar char="§"/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Box 83"/>
          <p:cNvSpPr txBox="1">
            <a:spLocks noChangeArrowheads="1"/>
          </p:cNvSpPr>
          <p:nvPr/>
        </p:nvSpPr>
        <p:spPr bwMode="auto">
          <a:xfrm>
            <a:off x="2693524" y="6593053"/>
            <a:ext cx="233680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/>
            <a:r>
              <a:rPr lang="en-CA" sz="7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©</a:t>
            </a:r>
            <a:r>
              <a:rPr lang="en-CA" sz="90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en-CA" sz="75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2018 All rights </a:t>
            </a:r>
            <a:r>
              <a:rPr lang="en-CA" sz="750">
                <a:solidFill>
                  <a:schemeClr val="bg1"/>
                </a:solidFill>
                <a:latin typeface="Calibri" panose="020F0502020204030204" pitchFamily="34" charset="0"/>
                <a:cs typeface="Segoe UI" pitchFamily="34" charset="0"/>
              </a:rPr>
              <a:t>reserved</a:t>
            </a:r>
            <a:endParaRPr lang="en-US" sz="750">
              <a:solidFill>
                <a:schemeClr val="bg1"/>
              </a:solidFill>
              <a:latin typeface="Calibri" panose="020F0502020204030204" pitchFamily="34" charset="0"/>
              <a:cs typeface="Segoe UI" pitchFamily="34" charset="0"/>
            </a:endParaRP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710486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59042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574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1200" y="1071563"/>
            <a:ext cx="10769600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ub-title/Text</a:t>
            </a:r>
          </a:p>
        </p:txBody>
      </p:sp>
      <p:grpSp>
        <p:nvGrpSpPr>
          <p:cNvPr id="9" name="Group 11"/>
          <p:cNvGrpSpPr>
            <a:grpSpLocks noChangeAspect="1"/>
          </p:cNvGrpSpPr>
          <p:nvPr/>
        </p:nvGrpSpPr>
        <p:grpSpPr bwMode="auto">
          <a:xfrm>
            <a:off x="10591799" y="215072"/>
            <a:ext cx="1427417" cy="268805"/>
            <a:chOff x="1271" y="1857"/>
            <a:chExt cx="3218" cy="606"/>
          </a:xfrm>
        </p:grpSpPr>
        <p:sp>
          <p:nvSpPr>
            <p:cNvPr id="10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57627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/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entury Gothic" panose="020B050202020202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32575"/>
            <a:ext cx="3327400" cy="4276745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695960" y="1712791"/>
            <a:ext cx="3467448" cy="3444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4371514" y="1712791"/>
            <a:ext cx="3467448" cy="344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8047068" y="1712791"/>
            <a:ext cx="3467448" cy="34442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059696" y="1447800"/>
            <a:ext cx="2978904" cy="381000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2000" b="1">
                <a:solidFill>
                  <a:schemeClr val="accent1"/>
                </a:solidFill>
              </a:defRPr>
            </a:lvl1pPr>
            <a:lvl2pPr marL="914400" indent="-457200">
              <a:buFont typeface="+mj-lt"/>
              <a:buAutoNum type="arabicPeriod"/>
              <a:defRPr sz="2000"/>
            </a:lvl2pPr>
            <a:lvl3pPr marL="1371600" indent="-457200">
              <a:buFont typeface="+mj-lt"/>
              <a:buAutoNum type="arabicPeriod"/>
              <a:defRPr sz="2000"/>
            </a:lvl3pPr>
            <a:lvl4pPr marL="1828800" indent="-457200">
              <a:buFont typeface="+mj-lt"/>
              <a:buAutoNum type="arabicPeriod"/>
              <a:defRPr sz="2000"/>
            </a:lvl4pPr>
            <a:lvl5pPr marL="2286000" indent="-457200">
              <a:buFont typeface="+mj-lt"/>
              <a:buAutoNum type="arabicPeriod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840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5867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53779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4767263" y="1447800"/>
            <a:ext cx="292893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8456613" y="1447800"/>
            <a:ext cx="289718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/>
          </p:nvPr>
        </p:nvSpPr>
        <p:spPr>
          <a:xfrm>
            <a:off x="4343400" y="2032000"/>
            <a:ext cx="3343275" cy="4216400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Tx/>
              <a:defRPr sz="2000">
                <a:solidFill>
                  <a:schemeClr val="accent1"/>
                </a:solidFill>
              </a:defRPr>
            </a:lvl2pPr>
            <a:lvl3pPr marL="1143000" indent="-2286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Tx/>
              <a:defRPr sz="2000">
                <a:solidFill>
                  <a:schemeClr val="accent1"/>
                </a:solidFill>
              </a:defRPr>
            </a:lvl4pPr>
            <a:lvl5pPr marL="2057400" indent="-2286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/>
          </p:nvPr>
        </p:nvSpPr>
        <p:spPr>
          <a:xfrm>
            <a:off x="8105775" y="2032000"/>
            <a:ext cx="3324225" cy="4216400"/>
          </a:xfrm>
          <a:prstGeom prst="rect">
            <a:avLst/>
          </a:prstGeom>
        </p:spPr>
        <p:txBody>
          <a:bodyPr/>
          <a:lstStyle>
            <a:lvl1pPr marL="342900" indent="-3429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Tx/>
              <a:defRPr sz="2000">
                <a:solidFill>
                  <a:schemeClr val="accent1"/>
                </a:solidFill>
              </a:defRPr>
            </a:lvl2pPr>
            <a:lvl3pPr marL="1143000" indent="-2286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Tx/>
              <a:defRPr sz="2000">
                <a:solidFill>
                  <a:schemeClr val="accent1"/>
                </a:solidFill>
              </a:defRPr>
            </a:lvl4pPr>
            <a:lvl5pPr marL="2057400" indent="-228600">
              <a:buClrTx/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1" name="Group 11"/>
          <p:cNvGrpSpPr>
            <a:grpSpLocks noChangeAspect="1"/>
          </p:cNvGrpSpPr>
          <p:nvPr/>
        </p:nvGrpSpPr>
        <p:grpSpPr bwMode="auto">
          <a:xfrm>
            <a:off x="10621493" y="213392"/>
            <a:ext cx="1427417" cy="268805"/>
            <a:chOff x="1271" y="1857"/>
            <a:chExt cx="3218" cy="606"/>
          </a:xfrm>
        </p:grpSpPr>
        <p:sp>
          <p:nvSpPr>
            <p:cNvPr id="23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82208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1"/>
            <a:ext cx="7770470" cy="5506278"/>
          </a:xfrm>
          <a:prstGeom prst="rect">
            <a:avLst/>
          </a:prstGeom>
        </p:spPr>
      </p:pic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325666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343400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Feature Presentation Titl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6352626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Section Break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1"/>
            <a:ext cx="7770470" cy="55062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66334" y="3657600"/>
            <a:ext cx="4192118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09852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auto">
          <a:xfrm>
            <a:off x="7848600" y="3503255"/>
            <a:ext cx="830616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70248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275244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3"/>
            <a:ext cx="7770470" cy="5506278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3657600"/>
            <a:ext cx="4267200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67200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7848600" y="3506075"/>
            <a:ext cx="841084" cy="76200"/>
          </a:xfrm>
          <a:prstGeom prst="rect">
            <a:avLst/>
          </a:prstGeom>
          <a:solidFill>
            <a:schemeClr val="accent2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67200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765" y="441960"/>
            <a:ext cx="298705" cy="25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719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CA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1"/>
          <a:stretch/>
        </p:blipFill>
        <p:spPr>
          <a:xfrm>
            <a:off x="0" y="674543"/>
            <a:ext cx="7770470" cy="5506278"/>
          </a:xfrm>
          <a:prstGeom prst="rect">
            <a:avLst/>
          </a:prstGeom>
        </p:spPr>
      </p:pic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22" name="Rectangle 21"/>
          <p:cNvSpPr/>
          <p:nvPr/>
        </p:nvSpPr>
        <p:spPr bwMode="auto">
          <a:xfrm>
            <a:off x="7848600" y="3505200"/>
            <a:ext cx="838202" cy="76200"/>
          </a:xfrm>
          <a:prstGeom prst="rect">
            <a:avLst/>
          </a:prstGeom>
          <a:solidFill>
            <a:schemeClr val="accent1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95" y="441960"/>
            <a:ext cx="298705" cy="259081"/>
          </a:xfrm>
          <a:prstGeom prst="rect">
            <a:avLst/>
          </a:prstGeom>
        </p:spPr>
      </p:pic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848600" y="3657600"/>
            <a:ext cx="4267200" cy="23955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2000" b="0" kern="1200" baseline="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title/Additional Text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48600" y="1012452"/>
            <a:ext cx="4267200" cy="2395571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 algn="l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None/>
              <a:defRPr lang="en-US" sz="5400" kern="1200" dirty="0" smtClean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Calibri" panose="020F0502020204030204" pitchFamily="34" charset="0"/>
              </a:defRPr>
            </a:lvl1pPr>
            <a:lvl2pPr marL="361950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2pPr>
            <a:lvl3pPr marL="71437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3pPr>
            <a:lvl4pPr marL="1076325" indent="0" algn="ctr" rtl="0" eaLnBrk="0" fontAlgn="base" hangingPunct="0">
              <a:spcBef>
                <a:spcPts val="12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None/>
              <a:defRPr lang="en-US" sz="200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4pPr>
            <a:lvl5pPr marL="1438275" indent="0" algn="ctr" rtl="0" eaLnBrk="0" fontAlgn="base" hangingPunct="0">
              <a:spcBef>
                <a:spcPts val="1200"/>
              </a:spcBef>
              <a:spcAft>
                <a:spcPts val="600"/>
              </a:spcAft>
              <a:buFont typeface="Wingdings" pitchFamily="2" charset="2"/>
              <a:buNone/>
              <a:defRPr lang="en-US" sz="2000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Lato Light" panose="020F030202020403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848600" y="228600"/>
            <a:ext cx="4267200" cy="685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umber</a:t>
            </a:r>
          </a:p>
        </p:txBody>
      </p:sp>
    </p:spTree>
    <p:extLst>
      <p:ext uri="{BB962C8B-B14F-4D97-AF65-F5344CB8AC3E}">
        <p14:creationId xmlns:p14="http://schemas.microsoft.com/office/powerpoint/2010/main" val="19405268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CAD897-D46E-4AD2-BD9B-49DD3E640873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/Tex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5606"/>
            <a:ext cx="12192000" cy="6852394"/>
          </a:xfrm>
          <a:prstGeom prst="rect">
            <a:avLst/>
          </a:prstGeom>
          <a:solidFill>
            <a:schemeClr val="accent1"/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Century Gothic" panose="020B050202020202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5029200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Tx/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Segoe UI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grpSp>
        <p:nvGrpSpPr>
          <p:cNvPr id="9" name="Group 11"/>
          <p:cNvGrpSpPr>
            <a:grpSpLocks noChangeAspect="1"/>
          </p:cNvGrpSpPr>
          <p:nvPr/>
        </p:nvGrpSpPr>
        <p:grpSpPr bwMode="auto">
          <a:xfrm>
            <a:off x="10620420" y="158020"/>
            <a:ext cx="1427417" cy="268805"/>
            <a:chOff x="1271" y="1857"/>
            <a:chExt cx="3218" cy="606"/>
          </a:xfrm>
        </p:grpSpPr>
        <p:sp>
          <p:nvSpPr>
            <p:cNvPr id="10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254727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1"/>
          <p:cNvGrpSpPr>
            <a:grpSpLocks noChangeAspect="1"/>
          </p:cNvGrpSpPr>
          <p:nvPr/>
        </p:nvGrpSpPr>
        <p:grpSpPr bwMode="auto">
          <a:xfrm>
            <a:off x="10591799" y="215072"/>
            <a:ext cx="1427417" cy="268805"/>
            <a:chOff x="1271" y="1857"/>
            <a:chExt cx="3218" cy="606"/>
          </a:xfrm>
        </p:grpSpPr>
        <p:sp>
          <p:nvSpPr>
            <p:cNvPr id="9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5240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733475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/Subtitl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574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11200" y="1071563"/>
            <a:ext cx="10769600" cy="4001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ub-title/Text</a:t>
            </a:r>
          </a:p>
        </p:txBody>
      </p:sp>
      <p:grpSp>
        <p:nvGrpSpPr>
          <p:cNvPr id="9" name="Group 11"/>
          <p:cNvGrpSpPr>
            <a:grpSpLocks noChangeAspect="1"/>
          </p:cNvGrpSpPr>
          <p:nvPr/>
        </p:nvGrpSpPr>
        <p:grpSpPr bwMode="auto">
          <a:xfrm>
            <a:off x="10591799" y="215072"/>
            <a:ext cx="1427417" cy="268805"/>
            <a:chOff x="1271" y="1857"/>
            <a:chExt cx="3218" cy="606"/>
          </a:xfrm>
        </p:grpSpPr>
        <p:sp>
          <p:nvSpPr>
            <p:cNvPr id="10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261293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/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accent2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2032575"/>
            <a:ext cx="3327400" cy="4276745"/>
          </a:xfrm>
          <a:prstGeom prst="rect">
            <a:avLst/>
          </a:prstGeom>
        </p:spPr>
        <p:txBody>
          <a:bodyPr>
            <a:no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lang="en-US" sz="20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accent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55" y="197935"/>
            <a:ext cx="298705" cy="259081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695960" y="1712791"/>
            <a:ext cx="3467448" cy="3444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4371514" y="1712791"/>
            <a:ext cx="3467448" cy="3444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2"/>
          <a:stretch/>
        </p:blipFill>
        <p:spPr>
          <a:xfrm>
            <a:off x="8047068" y="1712791"/>
            <a:ext cx="3467448" cy="34442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059696" y="1447800"/>
            <a:ext cx="2978904" cy="381000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2000" b="1">
                <a:solidFill>
                  <a:schemeClr val="accent1"/>
                </a:solidFill>
              </a:defRPr>
            </a:lvl1pPr>
            <a:lvl2pPr marL="914400" indent="-457200">
              <a:buFont typeface="+mj-lt"/>
              <a:buAutoNum type="arabicPeriod"/>
              <a:defRPr sz="2000"/>
            </a:lvl2pPr>
            <a:lvl3pPr marL="1371600" indent="-457200">
              <a:buFont typeface="+mj-lt"/>
              <a:buAutoNum type="arabicPeriod"/>
              <a:defRPr sz="2000"/>
            </a:lvl3pPr>
            <a:lvl4pPr marL="1828800" indent="-457200">
              <a:buFont typeface="+mj-lt"/>
              <a:buAutoNum type="arabicPeriod"/>
              <a:defRPr sz="2000"/>
            </a:lvl4pPr>
            <a:lvl5pPr marL="2286000" indent="-457200">
              <a:buFont typeface="+mj-lt"/>
              <a:buAutoNum type="arabicPeriod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840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265867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953779" y="1347410"/>
            <a:ext cx="5020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3200" b="1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.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4767263" y="1447800"/>
            <a:ext cx="292893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8456613" y="1447800"/>
            <a:ext cx="289718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2000" b="1">
                <a:solidFill>
                  <a:schemeClr val="accent1"/>
                </a:solidFill>
              </a:defRPr>
            </a:lvl3pPr>
            <a:lvl4pPr marL="1371600" indent="0">
              <a:buNone/>
              <a:defRPr sz="2000" b="1">
                <a:solidFill>
                  <a:schemeClr val="accent1"/>
                </a:solidFill>
              </a:defRPr>
            </a:lvl4pPr>
            <a:lvl5pPr marL="1828800" indent="0">
              <a:buNone/>
              <a:defRPr sz="2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4343400" y="2032000"/>
            <a:ext cx="334327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2000">
                <a:solidFill>
                  <a:schemeClr val="accent1"/>
                </a:solidFill>
              </a:defRPr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accent1"/>
                </a:solidFill>
              </a:defRPr>
            </a:lvl4pPr>
            <a:lvl5pPr marL="2057400" indent="-228600"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8105775" y="2032000"/>
            <a:ext cx="3324225" cy="42164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accent2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1pPr>
            <a:lvl2pPr>
              <a:buClr>
                <a:schemeClr val="accent1"/>
              </a:buClr>
              <a:defRPr sz="2000">
                <a:solidFill>
                  <a:schemeClr val="accent1"/>
                </a:solidFill>
              </a:defRPr>
            </a:lvl2pPr>
            <a:lvl3pPr marL="1143000" indent="-228600">
              <a:buClr>
                <a:schemeClr val="accent3"/>
              </a:buClr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3pPr>
            <a:lvl4pPr>
              <a:buClr>
                <a:schemeClr val="tx2"/>
              </a:buClr>
              <a:defRPr sz="2000">
                <a:solidFill>
                  <a:schemeClr val="accent1"/>
                </a:solidFill>
              </a:defRPr>
            </a:lvl4pPr>
            <a:lvl5pPr marL="2057400" indent="-228600">
              <a:buFont typeface="Courier New" panose="02070309020205020404" pitchFamily="49" charset="0"/>
              <a:buChar char="o"/>
              <a:defRPr sz="20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1" name="Group 11"/>
          <p:cNvGrpSpPr>
            <a:grpSpLocks noChangeAspect="1"/>
          </p:cNvGrpSpPr>
          <p:nvPr/>
        </p:nvGrpSpPr>
        <p:grpSpPr bwMode="auto">
          <a:xfrm>
            <a:off x="10591799" y="215072"/>
            <a:ext cx="1427417" cy="268805"/>
            <a:chOff x="1271" y="1857"/>
            <a:chExt cx="3218" cy="606"/>
          </a:xfrm>
        </p:grpSpPr>
        <p:sp>
          <p:nvSpPr>
            <p:cNvPr id="23" name="AutoShape 10"/>
            <p:cNvSpPr>
              <a:spLocks noChangeAspect="1" noChangeArrowheads="1" noTextEdit="1"/>
            </p:cNvSpPr>
            <p:nvPr/>
          </p:nvSpPr>
          <p:spPr bwMode="auto">
            <a:xfrm>
              <a:off x="1271" y="1857"/>
              <a:ext cx="3218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solidFill>
              <a:srgbClr val="F36D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solidFill>
              <a:srgbClr val="165F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051919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/Text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grpSp>
        <p:nvGrpSpPr>
          <p:cNvPr id="27" name="Group 11"/>
          <p:cNvGrpSpPr>
            <a:grpSpLocks noChangeAspect="1"/>
          </p:cNvGrpSpPr>
          <p:nvPr/>
        </p:nvGrpSpPr>
        <p:grpSpPr bwMode="auto">
          <a:xfrm>
            <a:off x="10592243" y="215516"/>
            <a:ext cx="1426530" cy="267918"/>
            <a:chOff x="1272" y="1858"/>
            <a:chExt cx="3216" cy="604"/>
          </a:xfrm>
          <a:solidFill>
            <a:schemeClr val="bg1"/>
          </a:solidFill>
        </p:grpSpPr>
        <p:sp>
          <p:nvSpPr>
            <p:cNvPr id="29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9734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/Text -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grpSp>
        <p:nvGrpSpPr>
          <p:cNvPr id="27" name="Group 11"/>
          <p:cNvGrpSpPr>
            <a:grpSpLocks noChangeAspect="1"/>
          </p:cNvGrpSpPr>
          <p:nvPr/>
        </p:nvGrpSpPr>
        <p:grpSpPr bwMode="auto">
          <a:xfrm>
            <a:off x="10592243" y="215516"/>
            <a:ext cx="1426530" cy="267918"/>
            <a:chOff x="1272" y="1858"/>
            <a:chExt cx="3216" cy="604"/>
          </a:xfrm>
          <a:solidFill>
            <a:schemeClr val="bg1"/>
          </a:solidFill>
        </p:grpSpPr>
        <p:sp>
          <p:nvSpPr>
            <p:cNvPr id="29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216721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/Text -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11199" y="520331"/>
            <a:ext cx="10769601" cy="510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40" rIns="91440" anchor="t" anchorCtr="0">
            <a:spAutoFit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b="0" kern="1200" dirty="0" smtClean="0">
                <a:solidFill>
                  <a:schemeClr val="bg1"/>
                </a:solidFill>
                <a:latin typeface="+mj-lt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tit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11200" y="1371600"/>
            <a:ext cx="10769600" cy="1631216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 algn="l" rtl="0" eaLnBrk="0" fontAlgn="base" hangingPunct="0">
              <a:spcBef>
                <a:spcPts val="180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28650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alibri" panose="020F0502020204030204" pitchFamily="34" charset="0"/>
              <a:buChar char="̶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90600" indent="-276225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4302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20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704975" indent="-26670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Courier New" panose="02070309020205020404" pitchFamily="49" charset="0"/>
              <a:buChar char="o"/>
              <a:defRPr lang="en-US" sz="20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628184" y="6532747"/>
            <a:ext cx="416433" cy="26161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0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1100" kern="120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defRPr>
            </a:lvl1pPr>
          </a:lstStyle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11199" y="195395"/>
            <a:ext cx="9728201" cy="304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Section Nam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71" y="197935"/>
            <a:ext cx="323089" cy="188976"/>
          </a:xfrm>
          <a:prstGeom prst="rect">
            <a:avLst/>
          </a:prstGeom>
        </p:spPr>
      </p:pic>
      <p:grpSp>
        <p:nvGrpSpPr>
          <p:cNvPr id="27" name="Group 11"/>
          <p:cNvGrpSpPr>
            <a:grpSpLocks noChangeAspect="1"/>
          </p:cNvGrpSpPr>
          <p:nvPr/>
        </p:nvGrpSpPr>
        <p:grpSpPr bwMode="auto">
          <a:xfrm>
            <a:off x="10592243" y="215516"/>
            <a:ext cx="1426530" cy="267918"/>
            <a:chOff x="1272" y="1858"/>
            <a:chExt cx="3216" cy="604"/>
          </a:xfrm>
          <a:solidFill>
            <a:schemeClr val="bg1"/>
          </a:solidFill>
        </p:grpSpPr>
        <p:sp>
          <p:nvSpPr>
            <p:cNvPr id="29" name="Freeform 12"/>
            <p:cNvSpPr>
              <a:spLocks noEditPoints="1"/>
            </p:cNvSpPr>
            <p:nvPr/>
          </p:nvSpPr>
          <p:spPr bwMode="auto">
            <a:xfrm>
              <a:off x="1272" y="1858"/>
              <a:ext cx="600" cy="604"/>
            </a:xfrm>
            <a:custGeom>
              <a:avLst/>
              <a:gdLst>
                <a:gd name="T0" fmla="*/ 221 w 442"/>
                <a:gd name="T1" fmla="*/ 0 h 442"/>
                <a:gd name="T2" fmla="*/ 0 w 442"/>
                <a:gd name="T3" fmla="*/ 221 h 442"/>
                <a:gd name="T4" fmla="*/ 221 w 442"/>
                <a:gd name="T5" fmla="*/ 442 h 442"/>
                <a:gd name="T6" fmla="*/ 442 w 442"/>
                <a:gd name="T7" fmla="*/ 221 h 442"/>
                <a:gd name="T8" fmla="*/ 221 w 442"/>
                <a:gd name="T9" fmla="*/ 0 h 442"/>
                <a:gd name="T10" fmla="*/ 221 w 442"/>
                <a:gd name="T11" fmla="*/ 345 h 442"/>
                <a:gd name="T12" fmla="*/ 97 w 442"/>
                <a:gd name="T13" fmla="*/ 221 h 442"/>
                <a:gd name="T14" fmla="*/ 221 w 442"/>
                <a:gd name="T15" fmla="*/ 97 h 442"/>
                <a:gd name="T16" fmla="*/ 345 w 442"/>
                <a:gd name="T17" fmla="*/ 221 h 442"/>
                <a:gd name="T18" fmla="*/ 221 w 442"/>
                <a:gd name="T19" fmla="*/ 3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221" y="0"/>
                  </a:moveTo>
                  <a:cubicBezTo>
                    <a:pt x="99" y="0"/>
                    <a:pt x="0" y="99"/>
                    <a:pt x="0" y="221"/>
                  </a:cubicBezTo>
                  <a:cubicBezTo>
                    <a:pt x="0" y="343"/>
                    <a:pt x="99" y="442"/>
                    <a:pt x="221" y="442"/>
                  </a:cubicBezTo>
                  <a:cubicBezTo>
                    <a:pt x="343" y="442"/>
                    <a:pt x="442" y="343"/>
                    <a:pt x="442" y="221"/>
                  </a:cubicBezTo>
                  <a:cubicBezTo>
                    <a:pt x="442" y="99"/>
                    <a:pt x="343" y="0"/>
                    <a:pt x="221" y="0"/>
                  </a:cubicBezTo>
                  <a:close/>
                  <a:moveTo>
                    <a:pt x="221" y="345"/>
                  </a:moveTo>
                  <a:cubicBezTo>
                    <a:pt x="152" y="345"/>
                    <a:pt x="97" y="290"/>
                    <a:pt x="97" y="221"/>
                  </a:cubicBezTo>
                  <a:cubicBezTo>
                    <a:pt x="97" y="152"/>
                    <a:pt x="152" y="97"/>
                    <a:pt x="221" y="97"/>
                  </a:cubicBezTo>
                  <a:cubicBezTo>
                    <a:pt x="290" y="97"/>
                    <a:pt x="345" y="152"/>
                    <a:pt x="345" y="221"/>
                  </a:cubicBezTo>
                  <a:cubicBezTo>
                    <a:pt x="345" y="290"/>
                    <a:pt x="290" y="345"/>
                    <a:pt x="221" y="3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1872" y="1858"/>
              <a:ext cx="363" cy="602"/>
            </a:xfrm>
            <a:custGeom>
              <a:avLst/>
              <a:gdLst>
                <a:gd name="T0" fmla="*/ 156 w 363"/>
                <a:gd name="T1" fmla="*/ 602 h 602"/>
                <a:gd name="T2" fmla="*/ 77 w 363"/>
                <a:gd name="T3" fmla="*/ 602 h 602"/>
                <a:gd name="T4" fmla="*/ 0 w 363"/>
                <a:gd name="T5" fmla="*/ 602 h 602"/>
                <a:gd name="T6" fmla="*/ 209 w 363"/>
                <a:gd name="T7" fmla="*/ 302 h 602"/>
                <a:gd name="T8" fmla="*/ 0 w 363"/>
                <a:gd name="T9" fmla="*/ 0 h 602"/>
                <a:gd name="T10" fmla="*/ 77 w 363"/>
                <a:gd name="T11" fmla="*/ 0 h 602"/>
                <a:gd name="T12" fmla="*/ 156 w 363"/>
                <a:gd name="T13" fmla="*/ 0 h 602"/>
                <a:gd name="T14" fmla="*/ 363 w 363"/>
                <a:gd name="T15" fmla="*/ 302 h 602"/>
                <a:gd name="T16" fmla="*/ 156 w 363"/>
                <a:gd name="T17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3" h="602">
                  <a:moveTo>
                    <a:pt x="156" y="602"/>
                  </a:moveTo>
                  <a:lnTo>
                    <a:pt x="77" y="602"/>
                  </a:lnTo>
                  <a:lnTo>
                    <a:pt x="0" y="602"/>
                  </a:lnTo>
                  <a:lnTo>
                    <a:pt x="209" y="302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56" y="0"/>
                  </a:lnTo>
                  <a:lnTo>
                    <a:pt x="363" y="302"/>
                  </a:lnTo>
                  <a:lnTo>
                    <a:pt x="156" y="6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4"/>
            <p:cNvSpPr>
              <a:spLocks noEditPoints="1"/>
            </p:cNvSpPr>
            <p:nvPr/>
          </p:nvSpPr>
          <p:spPr bwMode="auto">
            <a:xfrm>
              <a:off x="2405" y="2053"/>
              <a:ext cx="213" cy="217"/>
            </a:xfrm>
            <a:custGeom>
              <a:avLst/>
              <a:gdLst>
                <a:gd name="T0" fmla="*/ 157 w 157"/>
                <a:gd name="T1" fmla="*/ 79 h 159"/>
                <a:gd name="T2" fmla="*/ 79 w 157"/>
                <a:gd name="T3" fmla="*/ 159 h 159"/>
                <a:gd name="T4" fmla="*/ 0 w 157"/>
                <a:gd name="T5" fmla="*/ 79 h 159"/>
                <a:gd name="T6" fmla="*/ 79 w 157"/>
                <a:gd name="T7" fmla="*/ 0 h 159"/>
                <a:gd name="T8" fmla="*/ 157 w 157"/>
                <a:gd name="T9" fmla="*/ 79 h 159"/>
                <a:gd name="T10" fmla="*/ 116 w 157"/>
                <a:gd name="T11" fmla="*/ 79 h 159"/>
                <a:gd name="T12" fmla="*/ 79 w 157"/>
                <a:gd name="T13" fmla="*/ 37 h 159"/>
                <a:gd name="T14" fmla="*/ 41 w 157"/>
                <a:gd name="T15" fmla="*/ 79 h 159"/>
                <a:gd name="T16" fmla="*/ 79 w 157"/>
                <a:gd name="T17" fmla="*/ 122 h 159"/>
                <a:gd name="T18" fmla="*/ 116 w 157"/>
                <a:gd name="T19" fmla="*/ 7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9">
                  <a:moveTo>
                    <a:pt x="157" y="79"/>
                  </a:moveTo>
                  <a:cubicBezTo>
                    <a:pt x="157" y="125"/>
                    <a:pt x="123" y="159"/>
                    <a:pt x="79" y="159"/>
                  </a:cubicBezTo>
                  <a:cubicBezTo>
                    <a:pt x="34" y="159"/>
                    <a:pt x="0" y="125"/>
                    <a:pt x="0" y="79"/>
                  </a:cubicBezTo>
                  <a:cubicBezTo>
                    <a:pt x="0" y="33"/>
                    <a:pt x="34" y="0"/>
                    <a:pt x="79" y="0"/>
                  </a:cubicBezTo>
                  <a:cubicBezTo>
                    <a:pt x="123" y="0"/>
                    <a:pt x="157" y="33"/>
                    <a:pt x="157" y="79"/>
                  </a:cubicBezTo>
                  <a:close/>
                  <a:moveTo>
                    <a:pt x="116" y="79"/>
                  </a:moveTo>
                  <a:cubicBezTo>
                    <a:pt x="116" y="51"/>
                    <a:pt x="98" y="37"/>
                    <a:pt x="79" y="37"/>
                  </a:cubicBezTo>
                  <a:cubicBezTo>
                    <a:pt x="59" y="37"/>
                    <a:pt x="41" y="51"/>
                    <a:pt x="41" y="79"/>
                  </a:cubicBezTo>
                  <a:cubicBezTo>
                    <a:pt x="41" y="107"/>
                    <a:pt x="59" y="122"/>
                    <a:pt x="79" y="122"/>
                  </a:cubicBezTo>
                  <a:cubicBezTo>
                    <a:pt x="98" y="122"/>
                    <a:pt x="116" y="108"/>
                    <a:pt x="11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2647" y="2056"/>
              <a:ext cx="209" cy="287"/>
            </a:xfrm>
            <a:custGeom>
              <a:avLst/>
              <a:gdLst>
                <a:gd name="T0" fmla="*/ 0 w 154"/>
                <a:gd name="T1" fmla="*/ 210 h 210"/>
                <a:gd name="T2" fmla="*/ 0 w 154"/>
                <a:gd name="T3" fmla="*/ 3 h 210"/>
                <a:gd name="T4" fmla="*/ 39 w 154"/>
                <a:gd name="T5" fmla="*/ 3 h 210"/>
                <a:gd name="T6" fmla="*/ 39 w 154"/>
                <a:gd name="T7" fmla="*/ 21 h 210"/>
                <a:gd name="T8" fmla="*/ 85 w 154"/>
                <a:gd name="T9" fmla="*/ 0 h 210"/>
                <a:gd name="T10" fmla="*/ 154 w 154"/>
                <a:gd name="T11" fmla="*/ 77 h 210"/>
                <a:gd name="T12" fmla="*/ 83 w 154"/>
                <a:gd name="T13" fmla="*/ 156 h 210"/>
                <a:gd name="T14" fmla="*/ 40 w 154"/>
                <a:gd name="T15" fmla="*/ 137 h 210"/>
                <a:gd name="T16" fmla="*/ 40 w 154"/>
                <a:gd name="T17" fmla="*/ 210 h 210"/>
                <a:gd name="T18" fmla="*/ 0 w 154"/>
                <a:gd name="T19" fmla="*/ 210 h 210"/>
                <a:gd name="T20" fmla="*/ 77 w 154"/>
                <a:gd name="T21" fmla="*/ 36 h 210"/>
                <a:gd name="T22" fmla="*/ 40 w 154"/>
                <a:gd name="T23" fmla="*/ 77 h 210"/>
                <a:gd name="T24" fmla="*/ 77 w 154"/>
                <a:gd name="T25" fmla="*/ 120 h 210"/>
                <a:gd name="T26" fmla="*/ 114 w 154"/>
                <a:gd name="T27" fmla="*/ 77 h 210"/>
                <a:gd name="T28" fmla="*/ 77 w 154"/>
                <a:gd name="T29" fmla="*/ 36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4" h="210">
                  <a:moveTo>
                    <a:pt x="0" y="21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46" y="10"/>
                    <a:pt x="62" y="0"/>
                    <a:pt x="85" y="0"/>
                  </a:cubicBezTo>
                  <a:cubicBezTo>
                    <a:pt x="128" y="0"/>
                    <a:pt x="154" y="33"/>
                    <a:pt x="154" y="77"/>
                  </a:cubicBezTo>
                  <a:cubicBezTo>
                    <a:pt x="154" y="122"/>
                    <a:pt x="125" y="156"/>
                    <a:pt x="83" y="156"/>
                  </a:cubicBezTo>
                  <a:cubicBezTo>
                    <a:pt x="63" y="156"/>
                    <a:pt x="47" y="147"/>
                    <a:pt x="40" y="137"/>
                  </a:cubicBezTo>
                  <a:cubicBezTo>
                    <a:pt x="40" y="210"/>
                    <a:pt x="40" y="210"/>
                    <a:pt x="40" y="210"/>
                  </a:cubicBezTo>
                  <a:lnTo>
                    <a:pt x="0" y="210"/>
                  </a:lnTo>
                  <a:close/>
                  <a:moveTo>
                    <a:pt x="77" y="36"/>
                  </a:moveTo>
                  <a:cubicBezTo>
                    <a:pt x="56" y="36"/>
                    <a:pt x="40" y="51"/>
                    <a:pt x="40" y="77"/>
                  </a:cubicBezTo>
                  <a:cubicBezTo>
                    <a:pt x="40" y="104"/>
                    <a:pt x="56" y="120"/>
                    <a:pt x="77" y="120"/>
                  </a:cubicBezTo>
                  <a:cubicBezTo>
                    <a:pt x="97" y="120"/>
                    <a:pt x="114" y="104"/>
                    <a:pt x="114" y="77"/>
                  </a:cubicBezTo>
                  <a:cubicBezTo>
                    <a:pt x="114" y="51"/>
                    <a:pt x="97" y="36"/>
                    <a:pt x="7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2862" y="1999"/>
              <a:ext cx="131" cy="267"/>
            </a:xfrm>
            <a:custGeom>
              <a:avLst/>
              <a:gdLst>
                <a:gd name="T0" fmla="*/ 67 w 97"/>
                <a:gd name="T1" fmla="*/ 45 h 196"/>
                <a:gd name="T2" fmla="*/ 97 w 97"/>
                <a:gd name="T3" fmla="*/ 45 h 196"/>
                <a:gd name="T4" fmla="*/ 97 w 97"/>
                <a:gd name="T5" fmla="*/ 81 h 196"/>
                <a:gd name="T6" fmla="*/ 67 w 97"/>
                <a:gd name="T7" fmla="*/ 81 h 196"/>
                <a:gd name="T8" fmla="*/ 67 w 97"/>
                <a:gd name="T9" fmla="*/ 143 h 196"/>
                <a:gd name="T10" fmla="*/ 85 w 97"/>
                <a:gd name="T11" fmla="*/ 160 h 196"/>
                <a:gd name="T12" fmla="*/ 97 w 97"/>
                <a:gd name="T13" fmla="*/ 159 h 196"/>
                <a:gd name="T14" fmla="*/ 97 w 97"/>
                <a:gd name="T15" fmla="*/ 192 h 196"/>
                <a:gd name="T16" fmla="*/ 75 w 97"/>
                <a:gd name="T17" fmla="*/ 196 h 196"/>
                <a:gd name="T18" fmla="*/ 27 w 97"/>
                <a:gd name="T19" fmla="*/ 150 h 196"/>
                <a:gd name="T20" fmla="*/ 27 w 97"/>
                <a:gd name="T21" fmla="*/ 81 h 196"/>
                <a:gd name="T22" fmla="*/ 0 w 97"/>
                <a:gd name="T23" fmla="*/ 81 h 196"/>
                <a:gd name="T24" fmla="*/ 0 w 97"/>
                <a:gd name="T25" fmla="*/ 45 h 196"/>
                <a:gd name="T26" fmla="*/ 8 w 97"/>
                <a:gd name="T27" fmla="*/ 45 h 196"/>
                <a:gd name="T28" fmla="*/ 31 w 97"/>
                <a:gd name="T29" fmla="*/ 21 h 196"/>
                <a:gd name="T30" fmla="*/ 31 w 97"/>
                <a:gd name="T31" fmla="*/ 0 h 196"/>
                <a:gd name="T32" fmla="*/ 67 w 97"/>
                <a:gd name="T33" fmla="*/ 0 h 196"/>
                <a:gd name="T34" fmla="*/ 67 w 97"/>
                <a:gd name="T35" fmla="*/ 45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" h="196">
                  <a:moveTo>
                    <a:pt x="67" y="45"/>
                  </a:moveTo>
                  <a:cubicBezTo>
                    <a:pt x="97" y="45"/>
                    <a:pt x="97" y="45"/>
                    <a:pt x="97" y="45"/>
                  </a:cubicBezTo>
                  <a:cubicBezTo>
                    <a:pt x="97" y="81"/>
                    <a:pt x="97" y="81"/>
                    <a:pt x="97" y="81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67" y="156"/>
                    <a:pt x="73" y="160"/>
                    <a:pt x="85" y="160"/>
                  </a:cubicBezTo>
                  <a:cubicBezTo>
                    <a:pt x="90" y="160"/>
                    <a:pt x="95" y="160"/>
                    <a:pt x="97" y="159"/>
                  </a:cubicBezTo>
                  <a:cubicBezTo>
                    <a:pt x="97" y="192"/>
                    <a:pt x="97" y="192"/>
                    <a:pt x="97" y="192"/>
                  </a:cubicBezTo>
                  <a:cubicBezTo>
                    <a:pt x="94" y="194"/>
                    <a:pt x="86" y="196"/>
                    <a:pt x="75" y="196"/>
                  </a:cubicBezTo>
                  <a:cubicBezTo>
                    <a:pt x="46" y="196"/>
                    <a:pt x="27" y="179"/>
                    <a:pt x="27" y="150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24" y="45"/>
                    <a:pt x="31" y="35"/>
                    <a:pt x="31" y="2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67" y="0"/>
                    <a:pt x="67" y="0"/>
                    <a:pt x="67" y="0"/>
                  </a:cubicBezTo>
                  <a:lnTo>
                    <a:pt x="67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7"/>
            <p:cNvSpPr>
              <a:spLocks noEditPoints="1"/>
            </p:cNvSpPr>
            <p:nvPr/>
          </p:nvSpPr>
          <p:spPr bwMode="auto">
            <a:xfrm>
              <a:off x="3019" y="1959"/>
              <a:ext cx="68" cy="305"/>
            </a:xfrm>
            <a:custGeom>
              <a:avLst/>
              <a:gdLst>
                <a:gd name="T0" fmla="*/ 25 w 50"/>
                <a:gd name="T1" fmla="*/ 0 h 223"/>
                <a:gd name="T2" fmla="*/ 50 w 50"/>
                <a:gd name="T3" fmla="*/ 25 h 223"/>
                <a:gd name="T4" fmla="*/ 25 w 50"/>
                <a:gd name="T5" fmla="*/ 50 h 223"/>
                <a:gd name="T6" fmla="*/ 0 w 50"/>
                <a:gd name="T7" fmla="*/ 25 h 223"/>
                <a:gd name="T8" fmla="*/ 25 w 50"/>
                <a:gd name="T9" fmla="*/ 0 h 223"/>
                <a:gd name="T10" fmla="*/ 5 w 50"/>
                <a:gd name="T11" fmla="*/ 223 h 223"/>
                <a:gd name="T12" fmla="*/ 5 w 50"/>
                <a:gd name="T13" fmla="*/ 74 h 223"/>
                <a:gd name="T14" fmla="*/ 45 w 50"/>
                <a:gd name="T15" fmla="*/ 74 h 223"/>
                <a:gd name="T16" fmla="*/ 45 w 50"/>
                <a:gd name="T17" fmla="*/ 223 h 223"/>
                <a:gd name="T18" fmla="*/ 5 w 50"/>
                <a:gd name="T19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223">
                  <a:moveTo>
                    <a:pt x="25" y="0"/>
                  </a:move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lose/>
                  <a:moveTo>
                    <a:pt x="5" y="223"/>
                  </a:moveTo>
                  <a:cubicBezTo>
                    <a:pt x="5" y="74"/>
                    <a:pt x="5" y="74"/>
                    <a:pt x="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223"/>
                    <a:pt x="45" y="223"/>
                    <a:pt x="45" y="223"/>
                  </a:cubicBezTo>
                  <a:lnTo>
                    <a:pt x="5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3126" y="2055"/>
              <a:ext cx="308" cy="209"/>
            </a:xfrm>
            <a:custGeom>
              <a:avLst/>
              <a:gdLst>
                <a:gd name="T0" fmla="*/ 0 w 227"/>
                <a:gd name="T1" fmla="*/ 153 h 153"/>
                <a:gd name="T2" fmla="*/ 0 w 227"/>
                <a:gd name="T3" fmla="*/ 4 h 153"/>
                <a:gd name="T4" fmla="*/ 38 w 227"/>
                <a:gd name="T5" fmla="*/ 4 h 153"/>
                <a:gd name="T6" fmla="*/ 38 w 227"/>
                <a:gd name="T7" fmla="*/ 22 h 153"/>
                <a:gd name="T8" fmla="*/ 82 w 227"/>
                <a:gd name="T9" fmla="*/ 0 h 153"/>
                <a:gd name="T10" fmla="*/ 126 w 227"/>
                <a:gd name="T11" fmla="*/ 24 h 153"/>
                <a:gd name="T12" fmla="*/ 173 w 227"/>
                <a:gd name="T13" fmla="*/ 0 h 153"/>
                <a:gd name="T14" fmla="*/ 227 w 227"/>
                <a:gd name="T15" fmla="*/ 56 h 153"/>
                <a:gd name="T16" fmla="*/ 227 w 227"/>
                <a:gd name="T17" fmla="*/ 153 h 153"/>
                <a:gd name="T18" fmla="*/ 188 w 227"/>
                <a:gd name="T19" fmla="*/ 153 h 153"/>
                <a:gd name="T20" fmla="*/ 188 w 227"/>
                <a:gd name="T21" fmla="*/ 64 h 153"/>
                <a:gd name="T22" fmla="*/ 162 w 227"/>
                <a:gd name="T23" fmla="*/ 36 h 153"/>
                <a:gd name="T24" fmla="*/ 134 w 227"/>
                <a:gd name="T25" fmla="*/ 66 h 153"/>
                <a:gd name="T26" fmla="*/ 134 w 227"/>
                <a:gd name="T27" fmla="*/ 153 h 153"/>
                <a:gd name="T28" fmla="*/ 94 w 227"/>
                <a:gd name="T29" fmla="*/ 153 h 153"/>
                <a:gd name="T30" fmla="*/ 94 w 227"/>
                <a:gd name="T31" fmla="*/ 64 h 153"/>
                <a:gd name="T32" fmla="*/ 68 w 227"/>
                <a:gd name="T33" fmla="*/ 36 h 153"/>
                <a:gd name="T34" fmla="*/ 40 w 227"/>
                <a:gd name="T35" fmla="*/ 66 h 153"/>
                <a:gd name="T36" fmla="*/ 40 w 227"/>
                <a:gd name="T37" fmla="*/ 153 h 153"/>
                <a:gd name="T38" fmla="*/ 0 w 227"/>
                <a:gd name="T3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7" h="153">
                  <a:moveTo>
                    <a:pt x="0" y="15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6" y="8"/>
                    <a:pt x="65" y="0"/>
                    <a:pt x="82" y="0"/>
                  </a:cubicBezTo>
                  <a:cubicBezTo>
                    <a:pt x="102" y="0"/>
                    <a:pt x="118" y="8"/>
                    <a:pt x="126" y="24"/>
                  </a:cubicBezTo>
                  <a:cubicBezTo>
                    <a:pt x="138" y="6"/>
                    <a:pt x="154" y="0"/>
                    <a:pt x="173" y="0"/>
                  </a:cubicBezTo>
                  <a:cubicBezTo>
                    <a:pt x="201" y="0"/>
                    <a:pt x="227" y="16"/>
                    <a:pt x="227" y="56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64"/>
                    <a:pt x="188" y="64"/>
                    <a:pt x="188" y="64"/>
                  </a:cubicBezTo>
                  <a:cubicBezTo>
                    <a:pt x="188" y="48"/>
                    <a:pt x="180" y="36"/>
                    <a:pt x="162" y="36"/>
                  </a:cubicBezTo>
                  <a:cubicBezTo>
                    <a:pt x="145" y="36"/>
                    <a:pt x="134" y="50"/>
                    <a:pt x="134" y="66"/>
                  </a:cubicBezTo>
                  <a:cubicBezTo>
                    <a:pt x="134" y="153"/>
                    <a:pt x="134" y="153"/>
                    <a:pt x="134" y="153"/>
                  </a:cubicBezTo>
                  <a:cubicBezTo>
                    <a:pt x="94" y="153"/>
                    <a:pt x="94" y="153"/>
                    <a:pt x="94" y="153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48"/>
                    <a:pt x="86" y="36"/>
                    <a:pt x="68" y="36"/>
                  </a:cubicBezTo>
                  <a:cubicBezTo>
                    <a:pt x="50" y="36"/>
                    <a:pt x="40" y="49"/>
                    <a:pt x="40" y="66"/>
                  </a:cubicBezTo>
                  <a:cubicBezTo>
                    <a:pt x="40" y="153"/>
                    <a:pt x="40" y="153"/>
                    <a:pt x="40" y="153"/>
                  </a:cubicBezTo>
                  <a:lnTo>
                    <a:pt x="0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3475" y="2060"/>
              <a:ext cx="187" cy="209"/>
            </a:xfrm>
            <a:custGeom>
              <a:avLst/>
              <a:gdLst>
                <a:gd name="T0" fmla="*/ 98 w 138"/>
                <a:gd name="T1" fmla="*/ 133 h 153"/>
                <a:gd name="T2" fmla="*/ 57 w 138"/>
                <a:gd name="T3" fmla="*/ 153 h 153"/>
                <a:gd name="T4" fmla="*/ 0 w 138"/>
                <a:gd name="T5" fmla="*/ 94 h 153"/>
                <a:gd name="T6" fmla="*/ 0 w 138"/>
                <a:gd name="T7" fmla="*/ 0 h 153"/>
                <a:gd name="T8" fmla="*/ 40 w 138"/>
                <a:gd name="T9" fmla="*/ 0 h 153"/>
                <a:gd name="T10" fmla="*/ 40 w 138"/>
                <a:gd name="T11" fmla="*/ 86 h 153"/>
                <a:gd name="T12" fmla="*/ 68 w 138"/>
                <a:gd name="T13" fmla="*/ 116 h 153"/>
                <a:gd name="T14" fmla="*/ 96 w 138"/>
                <a:gd name="T15" fmla="*/ 87 h 153"/>
                <a:gd name="T16" fmla="*/ 96 w 138"/>
                <a:gd name="T17" fmla="*/ 0 h 153"/>
                <a:gd name="T18" fmla="*/ 136 w 138"/>
                <a:gd name="T19" fmla="*/ 0 h 153"/>
                <a:gd name="T20" fmla="*/ 136 w 138"/>
                <a:gd name="T21" fmla="*/ 122 h 153"/>
                <a:gd name="T22" fmla="*/ 138 w 138"/>
                <a:gd name="T23" fmla="*/ 149 h 153"/>
                <a:gd name="T24" fmla="*/ 99 w 138"/>
                <a:gd name="T25" fmla="*/ 149 h 153"/>
                <a:gd name="T26" fmla="*/ 98 w 138"/>
                <a:gd name="T27" fmla="*/ 13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153">
                  <a:moveTo>
                    <a:pt x="98" y="133"/>
                  </a:moveTo>
                  <a:cubicBezTo>
                    <a:pt x="90" y="147"/>
                    <a:pt x="72" y="153"/>
                    <a:pt x="57" y="153"/>
                  </a:cubicBezTo>
                  <a:cubicBezTo>
                    <a:pt x="21" y="153"/>
                    <a:pt x="0" y="127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103"/>
                    <a:pt x="49" y="116"/>
                    <a:pt x="68" y="116"/>
                  </a:cubicBezTo>
                  <a:cubicBezTo>
                    <a:pt x="85" y="116"/>
                    <a:pt x="96" y="104"/>
                    <a:pt x="96" y="8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22"/>
                    <a:pt x="136" y="122"/>
                    <a:pt x="136" y="122"/>
                  </a:cubicBezTo>
                  <a:cubicBezTo>
                    <a:pt x="136" y="134"/>
                    <a:pt x="137" y="144"/>
                    <a:pt x="138" y="149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8" y="146"/>
                    <a:pt x="98" y="139"/>
                    <a:pt x="98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3688" y="2053"/>
              <a:ext cx="162" cy="217"/>
            </a:xfrm>
            <a:custGeom>
              <a:avLst/>
              <a:gdLst>
                <a:gd name="T0" fmla="*/ 34 w 120"/>
                <a:gd name="T1" fmla="*/ 105 h 159"/>
                <a:gd name="T2" fmla="*/ 61 w 120"/>
                <a:gd name="T3" fmla="*/ 128 h 159"/>
                <a:gd name="T4" fmla="*/ 81 w 120"/>
                <a:gd name="T5" fmla="*/ 113 h 159"/>
                <a:gd name="T6" fmla="*/ 65 w 120"/>
                <a:gd name="T7" fmla="*/ 98 h 159"/>
                <a:gd name="T8" fmla="*/ 45 w 120"/>
                <a:gd name="T9" fmla="*/ 94 h 159"/>
                <a:gd name="T10" fmla="*/ 4 w 120"/>
                <a:gd name="T11" fmla="*/ 49 h 159"/>
                <a:gd name="T12" fmla="*/ 59 w 120"/>
                <a:gd name="T13" fmla="*/ 0 h 159"/>
                <a:gd name="T14" fmla="*/ 118 w 120"/>
                <a:gd name="T15" fmla="*/ 43 h 159"/>
                <a:gd name="T16" fmla="*/ 84 w 120"/>
                <a:gd name="T17" fmla="*/ 51 h 159"/>
                <a:gd name="T18" fmla="*/ 60 w 120"/>
                <a:gd name="T19" fmla="*/ 31 h 159"/>
                <a:gd name="T20" fmla="*/ 41 w 120"/>
                <a:gd name="T21" fmla="*/ 46 h 159"/>
                <a:gd name="T22" fmla="*/ 54 w 120"/>
                <a:gd name="T23" fmla="*/ 59 h 159"/>
                <a:gd name="T24" fmla="*/ 75 w 120"/>
                <a:gd name="T25" fmla="*/ 64 h 159"/>
                <a:gd name="T26" fmla="*/ 120 w 120"/>
                <a:gd name="T27" fmla="*/ 109 h 159"/>
                <a:gd name="T28" fmla="*/ 62 w 120"/>
                <a:gd name="T29" fmla="*/ 159 h 159"/>
                <a:gd name="T30" fmla="*/ 0 w 120"/>
                <a:gd name="T31" fmla="*/ 112 h 159"/>
                <a:gd name="T32" fmla="*/ 34 w 120"/>
                <a:gd name="T33" fmla="*/ 10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0" h="159">
                  <a:moveTo>
                    <a:pt x="34" y="105"/>
                  </a:moveTo>
                  <a:cubicBezTo>
                    <a:pt x="35" y="117"/>
                    <a:pt x="44" y="128"/>
                    <a:pt x="61" y="128"/>
                  </a:cubicBezTo>
                  <a:cubicBezTo>
                    <a:pt x="75" y="128"/>
                    <a:pt x="81" y="121"/>
                    <a:pt x="81" y="113"/>
                  </a:cubicBezTo>
                  <a:cubicBezTo>
                    <a:pt x="81" y="106"/>
                    <a:pt x="77" y="101"/>
                    <a:pt x="65" y="98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17" y="87"/>
                    <a:pt x="4" y="70"/>
                    <a:pt x="4" y="49"/>
                  </a:cubicBezTo>
                  <a:cubicBezTo>
                    <a:pt x="4" y="22"/>
                    <a:pt x="27" y="0"/>
                    <a:pt x="59" y="0"/>
                  </a:cubicBezTo>
                  <a:cubicBezTo>
                    <a:pt x="102" y="0"/>
                    <a:pt x="116" y="27"/>
                    <a:pt x="118" y="43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42"/>
                    <a:pt x="77" y="31"/>
                    <a:pt x="60" y="31"/>
                  </a:cubicBezTo>
                  <a:cubicBezTo>
                    <a:pt x="49" y="31"/>
                    <a:pt x="41" y="37"/>
                    <a:pt x="41" y="46"/>
                  </a:cubicBezTo>
                  <a:cubicBezTo>
                    <a:pt x="41" y="53"/>
                    <a:pt x="46" y="58"/>
                    <a:pt x="54" y="59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105" y="70"/>
                    <a:pt x="120" y="88"/>
                    <a:pt x="120" y="109"/>
                  </a:cubicBezTo>
                  <a:cubicBezTo>
                    <a:pt x="120" y="134"/>
                    <a:pt x="101" y="159"/>
                    <a:pt x="62" y="159"/>
                  </a:cubicBezTo>
                  <a:cubicBezTo>
                    <a:pt x="17" y="159"/>
                    <a:pt x="1" y="129"/>
                    <a:pt x="0" y="112"/>
                  </a:cubicBezTo>
                  <a:lnTo>
                    <a:pt x="34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3955" y="2059"/>
              <a:ext cx="152" cy="211"/>
            </a:xfrm>
            <a:custGeom>
              <a:avLst/>
              <a:gdLst>
                <a:gd name="T0" fmla="*/ 25 w 112"/>
                <a:gd name="T1" fmla="*/ 103 h 155"/>
                <a:gd name="T2" fmla="*/ 59 w 112"/>
                <a:gd name="T3" fmla="*/ 130 h 155"/>
                <a:gd name="T4" fmla="*/ 84 w 112"/>
                <a:gd name="T5" fmla="*/ 111 h 155"/>
                <a:gd name="T6" fmla="*/ 65 w 112"/>
                <a:gd name="T7" fmla="*/ 92 h 155"/>
                <a:gd name="T8" fmla="*/ 41 w 112"/>
                <a:gd name="T9" fmla="*/ 87 h 155"/>
                <a:gd name="T10" fmla="*/ 4 w 112"/>
                <a:gd name="T11" fmla="*/ 46 h 155"/>
                <a:gd name="T12" fmla="*/ 56 w 112"/>
                <a:gd name="T13" fmla="*/ 0 h 155"/>
                <a:gd name="T14" fmla="*/ 111 w 112"/>
                <a:gd name="T15" fmla="*/ 39 h 155"/>
                <a:gd name="T16" fmla="*/ 86 w 112"/>
                <a:gd name="T17" fmla="*/ 48 h 155"/>
                <a:gd name="T18" fmla="*/ 56 w 112"/>
                <a:gd name="T19" fmla="*/ 24 h 155"/>
                <a:gd name="T20" fmla="*/ 32 w 112"/>
                <a:gd name="T21" fmla="*/ 43 h 155"/>
                <a:gd name="T22" fmla="*/ 48 w 112"/>
                <a:gd name="T23" fmla="*/ 61 h 155"/>
                <a:gd name="T24" fmla="*/ 72 w 112"/>
                <a:gd name="T25" fmla="*/ 66 h 155"/>
                <a:gd name="T26" fmla="*/ 112 w 112"/>
                <a:gd name="T27" fmla="*/ 109 h 155"/>
                <a:gd name="T28" fmla="*/ 59 w 112"/>
                <a:gd name="T29" fmla="*/ 155 h 155"/>
                <a:gd name="T30" fmla="*/ 0 w 112"/>
                <a:gd name="T31" fmla="*/ 112 h 155"/>
                <a:gd name="T32" fmla="*/ 25 w 112"/>
                <a:gd name="T33" fmla="*/ 10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55">
                  <a:moveTo>
                    <a:pt x="25" y="103"/>
                  </a:moveTo>
                  <a:cubicBezTo>
                    <a:pt x="27" y="118"/>
                    <a:pt x="39" y="130"/>
                    <a:pt x="59" y="130"/>
                  </a:cubicBezTo>
                  <a:cubicBezTo>
                    <a:pt x="75" y="130"/>
                    <a:pt x="84" y="121"/>
                    <a:pt x="84" y="111"/>
                  </a:cubicBezTo>
                  <a:cubicBezTo>
                    <a:pt x="84" y="102"/>
                    <a:pt x="78" y="95"/>
                    <a:pt x="65" y="92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18" y="82"/>
                    <a:pt x="4" y="66"/>
                    <a:pt x="4" y="46"/>
                  </a:cubicBezTo>
                  <a:cubicBezTo>
                    <a:pt x="4" y="21"/>
                    <a:pt x="27" y="0"/>
                    <a:pt x="56" y="0"/>
                  </a:cubicBezTo>
                  <a:cubicBezTo>
                    <a:pt x="96" y="0"/>
                    <a:pt x="108" y="26"/>
                    <a:pt x="111" y="39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5" y="41"/>
                    <a:pt x="79" y="24"/>
                    <a:pt x="56" y="24"/>
                  </a:cubicBezTo>
                  <a:cubicBezTo>
                    <a:pt x="41" y="24"/>
                    <a:pt x="32" y="33"/>
                    <a:pt x="32" y="43"/>
                  </a:cubicBezTo>
                  <a:cubicBezTo>
                    <a:pt x="32" y="52"/>
                    <a:pt x="37" y="58"/>
                    <a:pt x="48" y="61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98" y="72"/>
                    <a:pt x="112" y="88"/>
                    <a:pt x="112" y="109"/>
                  </a:cubicBezTo>
                  <a:cubicBezTo>
                    <a:pt x="112" y="130"/>
                    <a:pt x="95" y="155"/>
                    <a:pt x="59" y="155"/>
                  </a:cubicBezTo>
                  <a:cubicBezTo>
                    <a:pt x="19" y="155"/>
                    <a:pt x="2" y="129"/>
                    <a:pt x="0" y="112"/>
                  </a:cubicBezTo>
                  <a:lnTo>
                    <a:pt x="25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4146" y="1965"/>
              <a:ext cx="195" cy="304"/>
            </a:xfrm>
            <a:custGeom>
              <a:avLst/>
              <a:gdLst>
                <a:gd name="T0" fmla="*/ 0 w 144"/>
                <a:gd name="T1" fmla="*/ 219 h 223"/>
                <a:gd name="T2" fmla="*/ 0 w 144"/>
                <a:gd name="T3" fmla="*/ 0 h 223"/>
                <a:gd name="T4" fmla="*/ 29 w 144"/>
                <a:gd name="T5" fmla="*/ 0 h 223"/>
                <a:gd name="T6" fmla="*/ 29 w 144"/>
                <a:gd name="T7" fmla="*/ 94 h 223"/>
                <a:gd name="T8" fmla="*/ 77 w 144"/>
                <a:gd name="T9" fmla="*/ 69 h 223"/>
                <a:gd name="T10" fmla="*/ 144 w 144"/>
                <a:gd name="T11" fmla="*/ 145 h 223"/>
                <a:gd name="T12" fmla="*/ 76 w 144"/>
                <a:gd name="T13" fmla="*/ 223 h 223"/>
                <a:gd name="T14" fmla="*/ 29 w 144"/>
                <a:gd name="T15" fmla="*/ 198 h 223"/>
                <a:gd name="T16" fmla="*/ 29 w 144"/>
                <a:gd name="T17" fmla="*/ 219 h 223"/>
                <a:gd name="T18" fmla="*/ 0 w 144"/>
                <a:gd name="T19" fmla="*/ 219 h 223"/>
                <a:gd name="T20" fmla="*/ 72 w 144"/>
                <a:gd name="T21" fmla="*/ 94 h 223"/>
                <a:gd name="T22" fmla="*/ 28 w 144"/>
                <a:gd name="T23" fmla="*/ 145 h 223"/>
                <a:gd name="T24" fmla="*/ 72 w 144"/>
                <a:gd name="T25" fmla="*/ 197 h 223"/>
                <a:gd name="T26" fmla="*/ 115 w 144"/>
                <a:gd name="T27" fmla="*/ 145 h 223"/>
                <a:gd name="T28" fmla="*/ 72 w 144"/>
                <a:gd name="T29" fmla="*/ 9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4" h="223">
                  <a:moveTo>
                    <a:pt x="0" y="21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36" y="81"/>
                    <a:pt x="53" y="69"/>
                    <a:pt x="77" y="69"/>
                  </a:cubicBezTo>
                  <a:cubicBezTo>
                    <a:pt x="121" y="69"/>
                    <a:pt x="144" y="103"/>
                    <a:pt x="144" y="145"/>
                  </a:cubicBezTo>
                  <a:cubicBezTo>
                    <a:pt x="144" y="189"/>
                    <a:pt x="119" y="223"/>
                    <a:pt x="76" y="223"/>
                  </a:cubicBezTo>
                  <a:cubicBezTo>
                    <a:pt x="54" y="223"/>
                    <a:pt x="38" y="214"/>
                    <a:pt x="29" y="198"/>
                  </a:cubicBezTo>
                  <a:cubicBezTo>
                    <a:pt x="29" y="219"/>
                    <a:pt x="29" y="219"/>
                    <a:pt x="29" y="219"/>
                  </a:cubicBezTo>
                  <a:lnTo>
                    <a:pt x="0" y="219"/>
                  </a:lnTo>
                  <a:close/>
                  <a:moveTo>
                    <a:pt x="72" y="94"/>
                  </a:moveTo>
                  <a:cubicBezTo>
                    <a:pt x="47" y="94"/>
                    <a:pt x="28" y="114"/>
                    <a:pt x="28" y="145"/>
                  </a:cubicBezTo>
                  <a:cubicBezTo>
                    <a:pt x="28" y="177"/>
                    <a:pt x="47" y="197"/>
                    <a:pt x="72" y="197"/>
                  </a:cubicBezTo>
                  <a:cubicBezTo>
                    <a:pt x="98" y="197"/>
                    <a:pt x="115" y="177"/>
                    <a:pt x="115" y="145"/>
                  </a:cubicBezTo>
                  <a:cubicBezTo>
                    <a:pt x="115" y="114"/>
                    <a:pt x="98" y="94"/>
                    <a:pt x="72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378" y="2062"/>
              <a:ext cx="110" cy="202"/>
            </a:xfrm>
            <a:custGeom>
              <a:avLst/>
              <a:gdLst>
                <a:gd name="T0" fmla="*/ 81 w 81"/>
                <a:gd name="T1" fmla="*/ 31 h 148"/>
                <a:gd name="T2" fmla="*/ 69 w 81"/>
                <a:gd name="T3" fmla="*/ 30 h 148"/>
                <a:gd name="T4" fmla="*/ 29 w 81"/>
                <a:gd name="T5" fmla="*/ 75 h 148"/>
                <a:gd name="T6" fmla="*/ 29 w 81"/>
                <a:gd name="T7" fmla="*/ 148 h 148"/>
                <a:gd name="T8" fmla="*/ 0 w 81"/>
                <a:gd name="T9" fmla="*/ 148 h 148"/>
                <a:gd name="T10" fmla="*/ 0 w 81"/>
                <a:gd name="T11" fmla="*/ 2 h 148"/>
                <a:gd name="T12" fmla="*/ 28 w 81"/>
                <a:gd name="T13" fmla="*/ 2 h 148"/>
                <a:gd name="T14" fmla="*/ 28 w 81"/>
                <a:gd name="T15" fmla="*/ 28 h 148"/>
                <a:gd name="T16" fmla="*/ 72 w 81"/>
                <a:gd name="T17" fmla="*/ 0 h 148"/>
                <a:gd name="T18" fmla="*/ 81 w 81"/>
                <a:gd name="T19" fmla="*/ 1 h 148"/>
                <a:gd name="T20" fmla="*/ 81 w 81"/>
                <a:gd name="T21" fmla="*/ 3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148">
                  <a:moveTo>
                    <a:pt x="81" y="31"/>
                  </a:moveTo>
                  <a:cubicBezTo>
                    <a:pt x="77" y="30"/>
                    <a:pt x="73" y="30"/>
                    <a:pt x="69" y="30"/>
                  </a:cubicBezTo>
                  <a:cubicBezTo>
                    <a:pt x="45" y="30"/>
                    <a:pt x="29" y="43"/>
                    <a:pt x="29" y="75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39" y="5"/>
                    <a:pt x="57" y="0"/>
                    <a:pt x="72" y="0"/>
                  </a:cubicBezTo>
                  <a:cubicBezTo>
                    <a:pt x="76" y="0"/>
                    <a:pt x="80" y="0"/>
                    <a:pt x="81" y="1"/>
                  </a:cubicBezTo>
                  <a:lnTo>
                    <a:pt x="8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74660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25ED0-91DB-445D-9131-0E722B2948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17FDA6-6319-44CF-A579-AC1E62DFBD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743019-25CE-4102-A6D6-56E397BFA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522FA1-20D4-43BC-820B-0206EC6FFE94}" type="datetimeFigureOut">
              <a:rPr lang="en-CA" smtClean="0"/>
              <a:t>2024-12-07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266D85-3A20-4BFD-81EF-983378B67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5A3C70-2A6C-4E04-AAC1-E23F131813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804F-047D-4DC5-A160-1872D26973B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71224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522FA1-20D4-43BC-820B-0206EC6FFE94}" type="datetimeFigureOut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12-07</a:t>
            </a:fld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810741" y="6248401"/>
            <a:ext cx="3796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804F-047D-4DC5-A160-1872D26973B5}" type="slidenum">
              <a:rPr kumimoji="0" lang="en-CA" sz="1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60757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5289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50" Type="http://schemas.openxmlformats.org/officeDocument/2006/relationships/slideLayout" Target="../slideLayouts/slideLayout91.xml"/><Relationship Id="rId55" Type="http://schemas.openxmlformats.org/officeDocument/2006/relationships/slideLayout" Target="../slideLayouts/slideLayout96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94.xml"/><Relationship Id="rId58" Type="http://schemas.openxmlformats.org/officeDocument/2006/relationships/slideLayout" Target="../slideLayouts/slideLayout99.xml"/><Relationship Id="rId5" Type="http://schemas.openxmlformats.org/officeDocument/2006/relationships/slideLayout" Target="../slideLayouts/slideLayout46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slideLayout" Target="../slideLayouts/slideLayout89.xml"/><Relationship Id="rId56" Type="http://schemas.openxmlformats.org/officeDocument/2006/relationships/slideLayout" Target="../slideLayouts/slideLayout97.xml"/><Relationship Id="rId8" Type="http://schemas.openxmlformats.org/officeDocument/2006/relationships/slideLayout" Target="../slideLayouts/slideLayout49.xml"/><Relationship Id="rId51" Type="http://schemas.openxmlformats.org/officeDocument/2006/relationships/slideLayout" Target="../slideLayouts/slideLayout92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59" Type="http://schemas.openxmlformats.org/officeDocument/2006/relationships/theme" Target="../theme/theme4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54" Type="http://schemas.openxmlformats.org/officeDocument/2006/relationships/slideLayout" Target="../slideLayouts/slideLayout95.xml"/><Relationship Id="rId62" Type="http://schemas.openxmlformats.org/officeDocument/2006/relationships/image" Target="../media/image12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slideLayout" Target="../slideLayouts/slideLayout90.xml"/><Relationship Id="rId57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slideLayout" Target="../slideLayouts/slideLayout93.xml"/><Relationship Id="rId60" Type="http://schemas.openxmlformats.org/officeDocument/2006/relationships/tags" Target="../tags/tag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8624D31-43A5-475A-80CF-332C9F6DCF35}" type="datetimeFigureOut">
              <a:rPr lang="en-US" dirty="0"/>
              <a:t>1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5" r:id="rId13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A"/>
              <a:t>Modifier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indent="0" defTabSz="457200">
              <a:lnSpc>
                <a:spcPct val="100000"/>
              </a:lnSpc>
              <a:buNone/>
            </a:pPr>
            <a:r>
              <a:rPr lang="en-US" sz="900" b="0" strike="noStrike" spc="-1">
                <a:solidFill>
                  <a:srgbClr val="FFFFFF"/>
                </a:solidFill>
                <a:latin typeface="Calibri"/>
              </a:rPr>
              <a:t>&lt;date/time&gt;</a:t>
            </a:r>
            <a:endParaRPr lang="en-GB" sz="9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indent="0" algn="ctr">
              <a:buNone/>
            </a:pPr>
            <a:r>
              <a:rPr lang="en-GB" sz="1400" b="0" strike="noStrike" spc="-1">
                <a:solidFill>
                  <a:srgbClr val="000000"/>
                </a:solidFill>
                <a:latin typeface="Times New Roman"/>
              </a:rPr>
              <a:t>&lt;footer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indent="0" algn="r" defTabSz="457200">
              <a:lnSpc>
                <a:spcPct val="100000"/>
              </a:lnSpc>
              <a:buNone/>
            </a:pPr>
            <a:fld id="{EE10DC95-9B79-47FE-8D12-A0DB268B2543}" type="slidenum">
              <a:rPr lang="en-US" sz="1050" b="0" strike="noStrike" spc="-1" smtClean="0">
                <a:solidFill>
                  <a:srgbClr val="FFFFFF"/>
                </a:solidFill>
                <a:latin typeface="Calibri"/>
              </a:rPr>
              <a:t>‹#›</a:t>
            </a:fld>
            <a:endParaRPr lang="en-GB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0015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1170" y="368300"/>
            <a:ext cx="11269662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9614" y="1412876"/>
            <a:ext cx="11252961" cy="4895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5131" y="6394626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12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43834" y="6400976"/>
            <a:ext cx="9181578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9614" y="6400976"/>
            <a:ext cx="472553" cy="2370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131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</p:sldLayoutIdLst>
  <p:txStyles>
    <p:titleStyle>
      <a:lvl1pPr algn="l" defTabSz="609660" rtl="0" eaLnBrk="1" latinLnBrk="0" hangingPunct="1">
        <a:spcBef>
          <a:spcPct val="0"/>
        </a:spcBef>
        <a:buNone/>
        <a:defRPr sz="2800" kern="1200" cap="none" baseline="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23" indent="-228623" algn="l" defTabSz="60966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1pPr>
      <a:lvl2pPr marL="495350" indent="-190520" algn="l" defTabSz="60966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2pPr>
      <a:lvl3pPr marL="762076" indent="-152416" algn="l" defTabSz="60966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3pPr>
      <a:lvl4pPr marL="1066907" indent="-152416" algn="l" defTabSz="60966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4pPr>
      <a:lvl5pPr marL="1371738" indent="-152416" algn="l" defTabSz="60966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>
              <a:lumMod val="75000"/>
              <a:lumOff val="25000"/>
            </a:schemeClr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5pPr>
      <a:lvl6pPr marL="1676568" indent="-152416" algn="l" defTabSz="60966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398" indent="-152416" algn="l" defTabSz="60966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228" indent="-152416" algn="l" defTabSz="60966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1060" indent="-152416" algn="l" defTabSz="60966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31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60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9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32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152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983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814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644" algn="l" defTabSz="60966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79">
          <p15:clr>
            <a:srgbClr val="F26B43"/>
          </p15:clr>
        </p15:guide>
        <p15:guide id="4" pos="7378">
          <p15:clr>
            <a:srgbClr val="F26B43"/>
          </p15:clr>
        </p15:guide>
        <p15:guide id="5" orient="horz" pos="709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890">
          <p15:clr>
            <a:srgbClr val="F26B43"/>
          </p15:clr>
        </p15:guide>
        <p15:guide id="8" orient="horz" pos="2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FF7637-4CC7-F7DA-ADBD-E3C10EBE3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1016243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1" imgW="421" imgH="420" progId="TCLayout.ActiveDocument.1">
                  <p:embed/>
                </p:oleObj>
              </mc:Choice>
              <mc:Fallback>
                <p:oleObj name="think-cell Slide" r:id="rId61" imgW="421" imgH="42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FF7637-4CC7-F7DA-ADBD-E3C10EBE3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134805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604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  <p:sldLayoutId id="2147483777" r:id="rId31"/>
    <p:sldLayoutId id="2147483778" r:id="rId32"/>
    <p:sldLayoutId id="2147483779" r:id="rId33"/>
    <p:sldLayoutId id="2147483780" r:id="rId34"/>
    <p:sldLayoutId id="2147483781" r:id="rId35"/>
    <p:sldLayoutId id="2147483782" r:id="rId36"/>
    <p:sldLayoutId id="2147483783" r:id="rId37"/>
    <p:sldLayoutId id="2147483784" r:id="rId38"/>
    <p:sldLayoutId id="2147483785" r:id="rId39"/>
    <p:sldLayoutId id="2147483786" r:id="rId40"/>
    <p:sldLayoutId id="2147483787" r:id="rId41"/>
    <p:sldLayoutId id="2147483788" r:id="rId42"/>
    <p:sldLayoutId id="2147483789" r:id="rId43"/>
    <p:sldLayoutId id="2147483790" r:id="rId44"/>
    <p:sldLayoutId id="2147483791" r:id="rId45"/>
    <p:sldLayoutId id="2147483792" r:id="rId46"/>
    <p:sldLayoutId id="2147483793" r:id="rId47"/>
    <p:sldLayoutId id="2147483794" r:id="rId48"/>
    <p:sldLayoutId id="2147483795" r:id="rId49"/>
    <p:sldLayoutId id="2147483796" r:id="rId50"/>
    <p:sldLayoutId id="2147483797" r:id="rId51"/>
    <p:sldLayoutId id="2147483798" r:id="rId52"/>
    <p:sldLayoutId id="2147483799" r:id="rId53"/>
    <p:sldLayoutId id="2147483800" r:id="rId54"/>
    <p:sldLayoutId id="2147483801" r:id="rId55"/>
    <p:sldLayoutId id="2147483802" r:id="rId56"/>
    <p:sldLayoutId id="2147483803" r:id="rId57"/>
    <p:sldLayoutId id="2147483804" r:id="rId5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SzPct val="100000"/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8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Rectangle 1032">
            <a:extLst>
              <a:ext uri="{FF2B5EF4-FFF2-40B4-BE49-F238E27FC236}">
                <a16:creationId xmlns:a16="http://schemas.microsoft.com/office/drawing/2014/main" id="{7C2DC10F-CD76-43DC-9E0B-CB291F740C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35" name="Rectangle 1034">
            <a:extLst>
              <a:ext uri="{FF2B5EF4-FFF2-40B4-BE49-F238E27FC236}">
                <a16:creationId xmlns:a16="http://schemas.microsoft.com/office/drawing/2014/main" id="{1C18170A-08B7-4230-A012-B24C20E393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cxnSp>
        <p:nvCxnSpPr>
          <p:cNvPr id="1037" name="Straight Connector 1036">
            <a:extLst>
              <a:ext uri="{FF2B5EF4-FFF2-40B4-BE49-F238E27FC236}">
                <a16:creationId xmlns:a16="http://schemas.microsoft.com/office/drawing/2014/main" id="{52188B95-E375-4977-9E9C-E28CE956F6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039" name="Rectangle 1038">
            <a:extLst>
              <a:ext uri="{FF2B5EF4-FFF2-40B4-BE49-F238E27FC236}">
                <a16:creationId xmlns:a16="http://schemas.microsoft.com/office/drawing/2014/main" id="{4CFCD50F-4BF3-4733-BD42-5567080A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1" cy="6334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1" name="Rectangle 1040">
            <a:extLst>
              <a:ext uri="{FF2B5EF4-FFF2-40B4-BE49-F238E27FC236}">
                <a16:creationId xmlns:a16="http://schemas.microsoft.com/office/drawing/2014/main" id="{97C2466A-2320-4205-BDC2-056CD8BC2C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1733" y="321733"/>
            <a:ext cx="3057906" cy="3408237"/>
          </a:xfrm>
          <a:prstGeom prst="rect">
            <a:avLst/>
          </a:prstGeom>
          <a:solidFill>
            <a:srgbClr val="FFFFFF"/>
          </a:solidFill>
          <a:ln w="6350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B4DC0E-EC13-F998-CDC6-04509A4287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8336" y="1294868"/>
            <a:ext cx="2784700" cy="1461967"/>
          </a:xfrm>
          <a:prstGeom prst="rect">
            <a:avLst/>
          </a:prstGeom>
          <a:noFill/>
        </p:spPr>
      </p:pic>
      <p:sp>
        <p:nvSpPr>
          <p:cNvPr id="1043" name="Rectangle 1042">
            <a:extLst>
              <a:ext uri="{FF2B5EF4-FFF2-40B4-BE49-F238E27FC236}">
                <a16:creationId xmlns:a16="http://schemas.microsoft.com/office/drawing/2014/main" id="{C24F77B6-3AFC-4981-A39A-15994073E1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12061" y="321733"/>
            <a:ext cx="2583939" cy="19552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45" name="Straight Connector 1044">
            <a:extLst>
              <a:ext uri="{FF2B5EF4-FFF2-40B4-BE49-F238E27FC236}">
                <a16:creationId xmlns:a16="http://schemas.microsoft.com/office/drawing/2014/main" id="{E622A300-A12E-4C3D-A574-71AFFA8F2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840096" y="2085703"/>
            <a:ext cx="411480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Rectangle 1046">
            <a:extLst>
              <a:ext uri="{FF2B5EF4-FFF2-40B4-BE49-F238E27FC236}">
                <a16:creationId xmlns:a16="http://schemas.microsoft.com/office/drawing/2014/main" id="{B7D21A87-2874-4438-84BA-E02F7C6327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1733" y="3879167"/>
            <a:ext cx="3057906" cy="21355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0B0A69F5-520C-404C-9614-071AAE138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28588" y="2451014"/>
            <a:ext cx="2567411" cy="3532765"/>
          </a:xfrm>
          <a:prstGeom prst="rect">
            <a:avLst/>
          </a:prstGeom>
          <a:solidFill>
            <a:srgbClr val="FFFFFF"/>
          </a:solidFill>
          <a:ln w="6350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9B6770-E592-BE72-D2A6-4DF58EA64E72}"/>
              </a:ext>
            </a:extLst>
          </p:cNvPr>
          <p:cNvSpPr txBox="1"/>
          <p:nvPr/>
        </p:nvSpPr>
        <p:spPr>
          <a:xfrm>
            <a:off x="6366294" y="321733"/>
            <a:ext cx="5183449" cy="5547361"/>
          </a:xfrm>
          <a:prstGeom prst="rect">
            <a:avLst/>
          </a:prstGeom>
          <a:solidFill>
            <a:schemeClr val="bg1"/>
          </a:solidFill>
        </p:spPr>
        <p:txBody>
          <a:bodyPr vert="horz" lIns="0" tIns="45720" rIns="0" bIns="45720" rtlCol="0">
            <a:normAutofit/>
          </a:bodyPr>
          <a:lstStyle/>
          <a:p>
            <a:pPr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</a:rPr>
              <a:t>Achieving Equity in Practice</a:t>
            </a:r>
            <a:b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</a:rPr>
            </a:b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</a:rPr>
              <a:t>The Importance of Good Regulatory Delivery</a:t>
            </a: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  <a:latin typeface="Abadi" panose="020B0604020104020204" pitchFamily="34" charset="0"/>
            </a:endParaRP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</a:rPr>
              <a:t>EPSO Conference</a:t>
            </a: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badi" panose="020B0604020104020204" pitchFamily="34" charset="0"/>
              </a:rPr>
              <a:t>Hosted by NZA</a:t>
            </a:r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lorentin BLANC, Director, IRIDE</a:t>
            </a:r>
          </a:p>
          <a:p>
            <a:pPr algn="ctr" defTabSz="91440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trecht, December 12, 2024</a:t>
            </a:r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54D683B1-E7B7-4AF5-8BF1-00757F13FB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sp>
        <p:nvSpPr>
          <p:cNvPr id="1053" name="Rectangle 1052">
            <a:extLst>
              <a:ext uri="{FF2B5EF4-FFF2-40B4-BE49-F238E27FC236}">
                <a16:creationId xmlns:a16="http://schemas.microsoft.com/office/drawing/2014/main" id="{7B07ECB0-AC96-4F4F-AB0C-44EA1353CE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r-FR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F93915-400F-022C-6B1E-C7F875203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2752" y="4542178"/>
            <a:ext cx="1961284" cy="13349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0CFC39-2BE6-4160-8FA8-62CF3CDB2B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9740" y="2814118"/>
            <a:ext cx="2456941" cy="1334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69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AEE66CCA-101A-4AB4-D9A6-93FAF045B1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47308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tar: 10 Points 2">
            <a:extLst>
              <a:ext uri="{FF2B5EF4-FFF2-40B4-BE49-F238E27FC236}">
                <a16:creationId xmlns:a16="http://schemas.microsoft.com/office/drawing/2014/main" id="{9A2D8583-D1B2-5257-CB36-185EBCEA961D}"/>
              </a:ext>
            </a:extLst>
          </p:cNvPr>
          <p:cNvSpPr/>
          <p:nvPr/>
        </p:nvSpPr>
        <p:spPr>
          <a:xfrm>
            <a:off x="1040921" y="632604"/>
            <a:ext cx="1897811" cy="1880558"/>
          </a:xfrm>
          <a:prstGeom prst="star10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noFill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551912-1B1D-247B-6537-2FC89813BA59}"/>
              </a:ext>
            </a:extLst>
          </p:cNvPr>
          <p:cNvSpPr txBox="1"/>
          <p:nvPr/>
        </p:nvSpPr>
        <p:spPr>
          <a:xfrm>
            <a:off x="1328467" y="1023668"/>
            <a:ext cx="12882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ll looks fine until scandals break out!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0C37C4-BCED-2885-56EB-66613B2480BF}"/>
              </a:ext>
            </a:extLst>
          </p:cNvPr>
          <p:cNvSpPr txBox="1"/>
          <p:nvPr/>
        </p:nvSpPr>
        <p:spPr>
          <a:xfrm>
            <a:off x="9484535" y="1659284"/>
            <a:ext cx="2547708" cy="353943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Formalistic regulatory delivery leaves major unchecked risks for patients – and for regulators!</a:t>
            </a:r>
            <a:endParaRPr lang="fr-FR" sz="2800" dirty="0"/>
          </a:p>
        </p:txBody>
      </p:sp>
    </p:spTree>
    <p:extLst>
      <p:ext uri="{BB962C8B-B14F-4D97-AF65-F5344CB8AC3E}">
        <p14:creationId xmlns:p14="http://schemas.microsoft.com/office/powerpoint/2010/main" val="33853583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4EC8D2-E0F6-0AB0-6A31-A198BD0A4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E3258A-AF0D-DA1F-C103-9A0ED0673170}"/>
              </a:ext>
            </a:extLst>
          </p:cNvPr>
          <p:cNvSpPr txBox="1"/>
          <p:nvPr/>
        </p:nvSpPr>
        <p:spPr>
          <a:xfrm>
            <a:off x="1328467" y="1023668"/>
            <a:ext cx="12882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ll looks fine until scandals break out!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40B5D9-DF8E-F63F-1693-66AEB89330E0}"/>
              </a:ext>
            </a:extLst>
          </p:cNvPr>
          <p:cNvSpPr txBox="1"/>
          <p:nvPr/>
        </p:nvSpPr>
        <p:spPr>
          <a:xfrm>
            <a:off x="242769" y="1623832"/>
            <a:ext cx="2547708" cy="39703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Effective regulatory supervision requires using multiple data sources to assess risks and detect problems</a:t>
            </a:r>
            <a:endParaRPr lang="fr-FR" sz="2800" dirty="0"/>
          </a:p>
        </p:txBody>
      </p:sp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id="{D930E3F1-4513-A9F7-190D-0FF1CA7CBD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228905"/>
              </p:ext>
            </p:extLst>
          </p:nvPr>
        </p:nvGraphicFramePr>
        <p:xfrm>
          <a:off x="4584623" y="98242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oup 3">
            <a:extLst>
              <a:ext uri="{FF2B5EF4-FFF2-40B4-BE49-F238E27FC236}">
                <a16:creationId xmlns:a16="http://schemas.microsoft.com/office/drawing/2014/main" id="{17DC894F-D490-7FD0-2B4E-B52186E64F91}"/>
              </a:ext>
            </a:extLst>
          </p:cNvPr>
          <p:cNvGrpSpPr/>
          <p:nvPr/>
        </p:nvGrpSpPr>
        <p:grpSpPr>
          <a:xfrm>
            <a:off x="3417791" y="987897"/>
            <a:ext cx="1793789" cy="1770730"/>
            <a:chOff x="1257873" y="1445310"/>
            <a:chExt cx="1635124" cy="1635124"/>
          </a:xfrm>
          <a:solidFill>
            <a:srgbClr val="7030A0"/>
          </a:solidFill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grpSpPr>
        <p:sp>
          <p:nvSpPr>
            <p:cNvPr id="7" name="Oval 4">
              <a:extLst>
                <a:ext uri="{FF2B5EF4-FFF2-40B4-BE49-F238E27FC236}">
                  <a16:creationId xmlns:a16="http://schemas.microsoft.com/office/drawing/2014/main" id="{CCAB190A-B9EA-7506-3231-504170340D43}"/>
                </a:ext>
              </a:extLst>
            </p:cNvPr>
            <p:cNvSpPr/>
            <p:nvPr/>
          </p:nvSpPr>
          <p:spPr>
            <a:xfrm>
              <a:off x="1257873" y="1445310"/>
              <a:ext cx="1635124" cy="1635124"/>
            </a:xfrm>
            <a:prstGeom prst="ellipse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845443"/>
                <a:satOff val="-75764"/>
                <a:lumOff val="39767"/>
                <a:alphaOff val="0"/>
              </a:schemeClr>
            </a:fillRef>
            <a:effectRef idx="3">
              <a:schemeClr val="accent1">
                <a:shade val="80000"/>
                <a:hueOff val="845443"/>
                <a:satOff val="-75764"/>
                <a:lumOff val="39767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BB9609CB-13C1-B62F-7875-90A6B4492803}"/>
                </a:ext>
              </a:extLst>
            </p:cNvPr>
            <p:cNvSpPr txBox="1"/>
            <p:nvPr/>
          </p:nvSpPr>
          <p:spPr>
            <a:xfrm>
              <a:off x="1497331" y="1684768"/>
              <a:ext cx="1156208" cy="115620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marR="0" lvl="0" indent="0" algn="ctr" defTabSz="5778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gular Inflow of Data on New/Modified Duty Holders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oup 9">
            <a:extLst>
              <a:ext uri="{FF2B5EF4-FFF2-40B4-BE49-F238E27FC236}">
                <a16:creationId xmlns:a16="http://schemas.microsoft.com/office/drawing/2014/main" id="{385DEB0B-7602-7365-CED9-E9AC79EAA591}"/>
              </a:ext>
            </a:extLst>
          </p:cNvPr>
          <p:cNvGrpSpPr/>
          <p:nvPr/>
        </p:nvGrpSpPr>
        <p:grpSpPr>
          <a:xfrm>
            <a:off x="3417792" y="3746764"/>
            <a:ext cx="1793789" cy="1770730"/>
            <a:chOff x="1257873" y="1445310"/>
            <a:chExt cx="1635124" cy="1635124"/>
          </a:xfrm>
          <a:solidFill>
            <a:srgbClr val="FF0000"/>
          </a:solidFill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grpSpPr>
        <p:sp>
          <p:nvSpPr>
            <p:cNvPr id="10" name="Oval 10">
              <a:extLst>
                <a:ext uri="{FF2B5EF4-FFF2-40B4-BE49-F238E27FC236}">
                  <a16:creationId xmlns:a16="http://schemas.microsoft.com/office/drawing/2014/main" id="{D0A216CB-4DC7-7429-A0BB-599D4C0CB2EA}"/>
                </a:ext>
              </a:extLst>
            </p:cNvPr>
            <p:cNvSpPr/>
            <p:nvPr/>
          </p:nvSpPr>
          <p:spPr>
            <a:xfrm>
              <a:off x="1257873" y="1445310"/>
              <a:ext cx="1635124" cy="1635124"/>
            </a:xfrm>
            <a:prstGeom prst="ellipse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80000"/>
                <a:hueOff val="845443"/>
                <a:satOff val="-75764"/>
                <a:lumOff val="39767"/>
                <a:alphaOff val="0"/>
              </a:schemeClr>
            </a:fillRef>
            <a:effectRef idx="3">
              <a:schemeClr val="accent1">
                <a:shade val="80000"/>
                <a:hueOff val="845443"/>
                <a:satOff val="-75764"/>
                <a:lumOff val="39767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4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val 4">
              <a:extLst>
                <a:ext uri="{FF2B5EF4-FFF2-40B4-BE49-F238E27FC236}">
                  <a16:creationId xmlns:a16="http://schemas.microsoft.com/office/drawing/2014/main" id="{F866461D-2581-9E68-5D24-233656538D33}"/>
                </a:ext>
              </a:extLst>
            </p:cNvPr>
            <p:cNvSpPr txBox="1"/>
            <p:nvPr/>
          </p:nvSpPr>
          <p:spPr>
            <a:xfrm>
              <a:off x="1497331" y="1684768"/>
              <a:ext cx="1156208" cy="115620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510" tIns="16510" rIns="16510" bIns="16510" numCol="1" spcCol="1270" anchor="ctr" anchorCtr="0">
              <a:noAutofit/>
            </a:bodyPr>
            <a:lstStyle/>
            <a:p>
              <a:pPr marL="0" marR="0" lvl="0" indent="0" algn="ctr" defTabSz="5778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nput From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kumimoji="0" lang="en-GB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tients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en-GB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latives</a:t>
              </a:r>
              <a:endPara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6">
            <a:extLst>
              <a:ext uri="{FF2B5EF4-FFF2-40B4-BE49-F238E27FC236}">
                <a16:creationId xmlns:a16="http://schemas.microsoft.com/office/drawing/2014/main" id="{6BEA3607-0B67-CAB4-299A-07C9D70CFABE}"/>
              </a:ext>
            </a:extLst>
          </p:cNvPr>
          <p:cNvGrpSpPr/>
          <p:nvPr/>
        </p:nvGrpSpPr>
        <p:grpSpPr>
          <a:xfrm>
            <a:off x="5225041" y="2393941"/>
            <a:ext cx="341222" cy="510010"/>
            <a:chOff x="4830234" y="1257302"/>
            <a:chExt cx="436123" cy="551854"/>
          </a:xfrm>
          <a:solidFill>
            <a:srgbClr val="7030A0"/>
          </a:solidFill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grpSpPr>
        <p:sp>
          <p:nvSpPr>
            <p:cNvPr id="13" name="Arrow: Right 7">
              <a:extLst>
                <a:ext uri="{FF2B5EF4-FFF2-40B4-BE49-F238E27FC236}">
                  <a16:creationId xmlns:a16="http://schemas.microsoft.com/office/drawing/2014/main" id="{E0094291-D4A1-C710-B2B4-14F44634A825}"/>
                </a:ext>
              </a:extLst>
            </p:cNvPr>
            <p:cNvSpPr/>
            <p:nvPr/>
          </p:nvSpPr>
          <p:spPr>
            <a:xfrm rot="2160000">
              <a:off x="4830234" y="1257302"/>
              <a:ext cx="436123" cy="55185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shade val="9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9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Arrow: Right 4">
              <a:extLst>
                <a:ext uri="{FF2B5EF4-FFF2-40B4-BE49-F238E27FC236}">
                  <a16:creationId xmlns:a16="http://schemas.microsoft.com/office/drawing/2014/main" id="{01247D9B-3451-3109-A58C-8132A023C512}"/>
                </a:ext>
              </a:extLst>
            </p:cNvPr>
            <p:cNvSpPr txBox="1"/>
            <p:nvPr/>
          </p:nvSpPr>
          <p:spPr>
            <a:xfrm rot="2160000">
              <a:off x="4842728" y="1329221"/>
              <a:ext cx="305286" cy="33111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4889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5" name="Group 6">
            <a:extLst>
              <a:ext uri="{FF2B5EF4-FFF2-40B4-BE49-F238E27FC236}">
                <a16:creationId xmlns:a16="http://schemas.microsoft.com/office/drawing/2014/main" id="{59186216-3CC9-E21B-E839-9D9168356731}"/>
              </a:ext>
            </a:extLst>
          </p:cNvPr>
          <p:cNvGrpSpPr/>
          <p:nvPr/>
        </p:nvGrpSpPr>
        <p:grpSpPr>
          <a:xfrm rot="17295217">
            <a:off x="5274002" y="3722261"/>
            <a:ext cx="341222" cy="510010"/>
            <a:chOff x="4830234" y="1257302"/>
            <a:chExt cx="436123" cy="551854"/>
          </a:xfrm>
          <a:solidFill>
            <a:srgbClr val="FF0000"/>
          </a:solidFill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grpSpPr>
        <p:sp>
          <p:nvSpPr>
            <p:cNvPr id="16" name="Arrow: Right 7">
              <a:extLst>
                <a:ext uri="{FF2B5EF4-FFF2-40B4-BE49-F238E27FC236}">
                  <a16:creationId xmlns:a16="http://schemas.microsoft.com/office/drawing/2014/main" id="{F445ADF6-44C4-ABEC-B031-C33D0DCB3795}"/>
                </a:ext>
              </a:extLst>
            </p:cNvPr>
            <p:cNvSpPr/>
            <p:nvPr/>
          </p:nvSpPr>
          <p:spPr>
            <a:xfrm rot="2160000">
              <a:off x="4830234" y="1257302"/>
              <a:ext cx="436123" cy="55185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shade val="9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shade val="9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Arrow: Right 4">
              <a:extLst>
                <a:ext uri="{FF2B5EF4-FFF2-40B4-BE49-F238E27FC236}">
                  <a16:creationId xmlns:a16="http://schemas.microsoft.com/office/drawing/2014/main" id="{F13C0C67-1302-6EBE-6307-BB4F286230FD}"/>
                </a:ext>
              </a:extLst>
            </p:cNvPr>
            <p:cNvSpPr txBox="1"/>
            <p:nvPr/>
          </p:nvSpPr>
          <p:spPr>
            <a:xfrm rot="2160000">
              <a:off x="4842728" y="1329221"/>
              <a:ext cx="305286" cy="33111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4889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5416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D8089-4045-5A49-82C7-66E8E262E1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D2C12AE-5778-8493-F15C-D274C517686F}"/>
              </a:ext>
            </a:extLst>
          </p:cNvPr>
          <p:cNvSpPr txBox="1"/>
          <p:nvPr/>
        </p:nvSpPr>
        <p:spPr>
          <a:xfrm>
            <a:off x="1328467" y="1023668"/>
            <a:ext cx="12882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All looks fine until scandals break out!</a:t>
            </a:r>
            <a:endParaRPr lang="fr-FR" b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D607271-08DD-1DF8-99EA-2D185B2FC318}"/>
              </a:ext>
            </a:extLst>
          </p:cNvPr>
          <p:cNvSpPr txBox="1"/>
          <p:nvPr/>
        </p:nvSpPr>
        <p:spPr>
          <a:xfrm>
            <a:off x="265773" y="554157"/>
            <a:ext cx="2547708" cy="310854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Effective regulatory supervision requires focusing on people and practices</a:t>
            </a:r>
            <a:endParaRPr lang="fr-FR" sz="2800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7797662-6FDC-3C9F-FE58-97C01DBC44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0646677"/>
              </p:ext>
            </p:extLst>
          </p:nvPr>
        </p:nvGraphicFramePr>
        <p:xfrm>
          <a:off x="2031999" y="115019"/>
          <a:ext cx="9993223" cy="66250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76700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CustomShape 1"/>
          <p:cNvSpPr/>
          <p:nvPr/>
        </p:nvSpPr>
        <p:spPr>
          <a:xfrm>
            <a:off x="828484" y="943984"/>
            <a:ext cx="10535032" cy="73855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10260" anchor="b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-1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ting Enforcement Right - Not Every </a:t>
            </a:r>
            <a:r>
              <a:rPr lang="en-GB" sz="3200" spc="-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kumimoji="0" lang="en-GB" sz="3200" b="0" i="0" u="none" strike="noStrike" kern="1200" cap="none" spc="-1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lth</a:t>
            </a:r>
            <a:r>
              <a:rPr kumimoji="0" lang="en-GB" sz="3200" b="0" i="0" u="none" strike="noStrike" kern="1200" cap="none" spc="-1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are </a:t>
            </a:r>
            <a:r>
              <a:rPr lang="en-GB" sz="3200" spc="-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kumimoji="0" lang="en-GB" sz="3200" b="0" i="0" u="none" strike="noStrike" kern="1200" cap="none" spc="-1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ator</a:t>
            </a:r>
            <a:r>
              <a:rPr kumimoji="0" lang="en-GB" sz="3200" b="0" i="0" u="none" strike="noStrike" kern="1200" cap="none" spc="-1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s the Same!</a:t>
            </a:r>
          </a:p>
        </p:txBody>
      </p:sp>
      <p:grpSp>
        <p:nvGrpSpPr>
          <p:cNvPr id="307" name="Group 12"/>
          <p:cNvGrpSpPr/>
          <p:nvPr/>
        </p:nvGrpSpPr>
        <p:grpSpPr>
          <a:xfrm>
            <a:off x="1524000" y="857250"/>
            <a:ext cx="27000" cy="27000"/>
            <a:chOff x="0" y="0"/>
            <a:chExt cx="36000" cy="36000"/>
          </a:xfrm>
        </p:grpSpPr>
      </p:grpSp>
      <p:sp>
        <p:nvSpPr>
          <p:cNvPr id="5" name="TextBox 63">
            <a:extLst>
              <a:ext uri="{FF2B5EF4-FFF2-40B4-BE49-F238E27FC236}">
                <a16:creationId xmlns:a16="http://schemas.microsoft.com/office/drawing/2014/main" id="{A47F0AF4-D555-D65F-3343-9A15C5CA7F73}"/>
              </a:ext>
            </a:extLst>
          </p:cNvPr>
          <p:cNvSpPr txBox="1"/>
          <p:nvPr/>
        </p:nvSpPr>
        <p:spPr>
          <a:xfrm>
            <a:off x="8266708" y="4336638"/>
            <a:ext cx="14497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eterrence</a:t>
            </a:r>
            <a:endParaRPr kumimoji="0" lang="en-GB" sz="1500" b="0" i="0" u="none" strike="noStrike" kern="1200" cap="none" spc="-2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R" sz="1500" b="0" i="0" u="none" strike="noStrike" kern="1200" cap="none" spc="0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6" name="TextBox 64">
            <a:extLst>
              <a:ext uri="{FF2B5EF4-FFF2-40B4-BE49-F238E27FC236}">
                <a16:creationId xmlns:a16="http://schemas.microsoft.com/office/drawing/2014/main" id="{2075631A-3D64-0AA0-6D1A-41F11F0BEEFF}"/>
              </a:ext>
            </a:extLst>
          </p:cNvPr>
          <p:cNvSpPr txBox="1"/>
          <p:nvPr/>
        </p:nvSpPr>
        <p:spPr>
          <a:xfrm>
            <a:off x="6803439" y="5056253"/>
            <a:ext cx="14922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Legitimacy and Interactions</a:t>
            </a:r>
            <a:endParaRPr kumimoji="0" lang="en-GB" sz="1500" b="0" i="0" u="none" strike="noStrike" kern="1200" cap="none" spc="-2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R" sz="1500" b="0" i="0" u="none" strike="noStrike" kern="1200" cap="none" spc="0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24ED8DAB-0F40-8DAD-0310-199D13E1C517}"/>
              </a:ext>
            </a:extLst>
          </p:cNvPr>
          <p:cNvSpPr txBox="1"/>
          <p:nvPr/>
        </p:nvSpPr>
        <p:spPr>
          <a:xfrm>
            <a:off x="8280200" y="5125364"/>
            <a:ext cx="176660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ocial an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ultur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-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rivers</a:t>
            </a:r>
            <a:endParaRPr kumimoji="0" lang="en-GB" sz="1500" b="0" i="0" u="none" strike="noStrike" kern="1200" cap="none" spc="-2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64CFB701-8E9D-0FE1-AA67-D7189B92532C}"/>
              </a:ext>
            </a:extLst>
          </p:cNvPr>
          <p:cNvSpPr txBox="1"/>
          <p:nvPr/>
        </p:nvSpPr>
        <p:spPr>
          <a:xfrm>
            <a:off x="6820964" y="4222734"/>
            <a:ext cx="14809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Enabling conditions</a:t>
            </a: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D23677AC-F5F4-56CD-F12B-4D2A57418A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049" y="2108765"/>
            <a:ext cx="11150951" cy="2864762"/>
          </a:xfrm>
          <a:prstGeom prst="rect">
            <a:avLst/>
          </a:prstGeom>
        </p:spPr>
      </p:pic>
      <p:sp>
        <p:nvSpPr>
          <p:cNvPr id="13" name="TextBox 8">
            <a:extLst>
              <a:ext uri="{FF2B5EF4-FFF2-40B4-BE49-F238E27FC236}">
                <a16:creationId xmlns:a16="http://schemas.microsoft.com/office/drawing/2014/main" id="{AFB767B8-5AFD-1A1E-4E83-0DD087744F82}"/>
              </a:ext>
            </a:extLst>
          </p:cNvPr>
          <p:cNvSpPr txBox="1"/>
          <p:nvPr/>
        </p:nvSpPr>
        <p:spPr>
          <a:xfrm>
            <a:off x="7504963" y="4989807"/>
            <a:ext cx="5257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27272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Source: Scottish Environmental Protection Agency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72727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694480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CustomShape 1"/>
          <p:cNvSpPr/>
          <p:nvPr/>
        </p:nvSpPr>
        <p:spPr>
          <a:xfrm>
            <a:off x="597049" y="232200"/>
            <a:ext cx="10535032" cy="73855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10260" anchor="b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-1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derstanding Drivers of Behaviour</a:t>
            </a:r>
          </a:p>
        </p:txBody>
      </p:sp>
      <p:grpSp>
        <p:nvGrpSpPr>
          <p:cNvPr id="307" name="Group 12"/>
          <p:cNvGrpSpPr/>
          <p:nvPr/>
        </p:nvGrpSpPr>
        <p:grpSpPr>
          <a:xfrm>
            <a:off x="1524000" y="857250"/>
            <a:ext cx="27000" cy="27000"/>
            <a:chOff x="0" y="0"/>
            <a:chExt cx="36000" cy="36000"/>
          </a:xfrm>
        </p:grpSpPr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ADE527D-3AE6-4975-ABFE-52473D3E1752}"/>
              </a:ext>
            </a:extLst>
          </p:cNvPr>
          <p:cNvSpPr/>
          <p:nvPr/>
        </p:nvSpPr>
        <p:spPr bwMode="auto">
          <a:xfrm>
            <a:off x="6251417" y="1062175"/>
            <a:ext cx="5233765" cy="9760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543300" marR="0" lvl="7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pections</a:t>
            </a:r>
          </a:p>
          <a:p>
            <a:pPr marL="3543300" marR="0" lvl="7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forcement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23EDF88-F22A-29C1-5CF1-CA02914FB3FF}"/>
              </a:ext>
            </a:extLst>
          </p:cNvPr>
          <p:cNvSpPr/>
          <p:nvPr/>
        </p:nvSpPr>
        <p:spPr bwMode="auto">
          <a:xfrm>
            <a:off x="6251417" y="5328677"/>
            <a:ext cx="5330269" cy="14274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086100" marR="0" lvl="6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ormity </a:t>
            </a:r>
          </a:p>
          <a:p>
            <a:pPr marL="2743200" marR="0" lvl="6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“everyone does it”)</a:t>
            </a:r>
          </a:p>
          <a:p>
            <a:pPr marL="3086100" marR="0" lvl="6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hics </a:t>
            </a:r>
          </a:p>
          <a:p>
            <a:pPr marL="2743200" marR="0" lvl="6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“this is the right thing to do”)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D47365D-723E-ABA4-259F-0D0C2230033F}"/>
              </a:ext>
            </a:extLst>
          </p:cNvPr>
          <p:cNvSpPr/>
          <p:nvPr/>
        </p:nvSpPr>
        <p:spPr bwMode="auto">
          <a:xfrm>
            <a:off x="715582" y="1057955"/>
            <a:ext cx="5233765" cy="9760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nowledg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pac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4BC7D2-1C5A-6747-8A80-D55CB2B14AAC}"/>
              </a:ext>
            </a:extLst>
          </p:cNvPr>
          <p:cNvSpPr/>
          <p:nvPr/>
        </p:nvSpPr>
        <p:spPr bwMode="auto">
          <a:xfrm>
            <a:off x="787156" y="5780080"/>
            <a:ext cx="5233765" cy="9760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699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ir regulator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gitimacy of authorities</a:t>
            </a:r>
          </a:p>
        </p:txBody>
      </p:sp>
      <p:grpSp>
        <p:nvGrpSpPr>
          <p:cNvPr id="18" name="Group 34">
            <a:extLst>
              <a:ext uri="{FF2B5EF4-FFF2-40B4-BE49-F238E27FC236}">
                <a16:creationId xmlns:a16="http://schemas.microsoft.com/office/drawing/2014/main" id="{939E07D6-EECB-659E-6F7E-BBD653C9CE30}"/>
              </a:ext>
            </a:extLst>
          </p:cNvPr>
          <p:cNvGrpSpPr/>
          <p:nvPr/>
        </p:nvGrpSpPr>
        <p:grpSpPr>
          <a:xfrm>
            <a:off x="3022192" y="1014390"/>
            <a:ext cx="6147613" cy="5786436"/>
            <a:chOff x="3756651" y="1471673"/>
            <a:chExt cx="4773956" cy="4774458"/>
          </a:xfrm>
        </p:grpSpPr>
        <p:sp>
          <p:nvSpPr>
            <p:cNvPr id="19" name="Freeform: Shape 5">
              <a:extLst>
                <a:ext uri="{FF2B5EF4-FFF2-40B4-BE49-F238E27FC236}">
                  <a16:creationId xmlns:a16="http://schemas.microsoft.com/office/drawing/2014/main" id="{5EF6BB7D-E1C1-23F3-2EA3-DECFF24A0EA6}"/>
                </a:ext>
              </a:extLst>
            </p:cNvPr>
            <p:cNvSpPr/>
            <p:nvPr/>
          </p:nvSpPr>
          <p:spPr>
            <a:xfrm>
              <a:off x="3756651" y="1472286"/>
              <a:ext cx="2339349" cy="2339440"/>
            </a:xfrm>
            <a:custGeom>
              <a:avLst/>
              <a:gdLst>
                <a:gd name="connsiteX0" fmla="*/ 2312960 w 2401675"/>
                <a:gd name="connsiteY0" fmla="*/ 132 h 2401770"/>
                <a:gd name="connsiteX1" fmla="*/ 148 w 2401675"/>
                <a:gd name="connsiteY1" fmla="*/ 2309502 h 2401770"/>
                <a:gd name="connsiteX2" fmla="*/ 86976 w 2401675"/>
                <a:gd name="connsiteY2" fmla="*/ 2401770 h 2401770"/>
                <a:gd name="connsiteX3" fmla="*/ 627816 w 2401675"/>
                <a:gd name="connsiteY3" fmla="*/ 2401770 h 2401770"/>
                <a:gd name="connsiteX4" fmla="*/ 1495648 w 2401675"/>
                <a:gd name="connsiteY4" fmla="*/ 2401770 h 2401770"/>
                <a:gd name="connsiteX5" fmla="*/ 1582587 w 2401675"/>
                <a:gd name="connsiteY5" fmla="*/ 2326823 h 2401770"/>
                <a:gd name="connsiteX6" fmla="*/ 2326729 w 2401675"/>
                <a:gd name="connsiteY6" fmla="*/ 1582682 h 2401770"/>
                <a:gd name="connsiteX7" fmla="*/ 2401676 w 2401675"/>
                <a:gd name="connsiteY7" fmla="*/ 1495743 h 2401770"/>
                <a:gd name="connsiteX8" fmla="*/ 2401676 w 2401675"/>
                <a:gd name="connsiteY8" fmla="*/ 627911 h 2401770"/>
                <a:gd name="connsiteX9" fmla="*/ 2401676 w 2401675"/>
                <a:gd name="connsiteY9" fmla="*/ 83518 h 2401770"/>
                <a:gd name="connsiteX10" fmla="*/ 2312960 w 2401675"/>
                <a:gd name="connsiteY10" fmla="*/ 132 h 240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1675" h="2401770">
                  <a:moveTo>
                    <a:pt x="2312960" y="132"/>
                  </a:moveTo>
                  <a:cubicBezTo>
                    <a:pt x="1068172" y="68861"/>
                    <a:pt x="70654" y="1065158"/>
                    <a:pt x="148" y="2309502"/>
                  </a:cubicBezTo>
                  <a:cubicBezTo>
                    <a:pt x="-2739" y="2359467"/>
                    <a:pt x="36900" y="2401770"/>
                    <a:pt x="86976" y="2401770"/>
                  </a:cubicBezTo>
                  <a:lnTo>
                    <a:pt x="627816" y="2401770"/>
                  </a:lnTo>
                  <a:lnTo>
                    <a:pt x="1495648" y="2401770"/>
                  </a:lnTo>
                  <a:cubicBezTo>
                    <a:pt x="1539173" y="2401770"/>
                    <a:pt x="1576480" y="2370015"/>
                    <a:pt x="1582587" y="2326823"/>
                  </a:cubicBezTo>
                  <a:cubicBezTo>
                    <a:pt x="1636993" y="1941762"/>
                    <a:pt x="1941556" y="1637088"/>
                    <a:pt x="2326729" y="1582682"/>
                  </a:cubicBezTo>
                  <a:cubicBezTo>
                    <a:pt x="2369809" y="1576575"/>
                    <a:pt x="2401676" y="1539268"/>
                    <a:pt x="2401676" y="1495743"/>
                  </a:cubicBezTo>
                  <a:lnTo>
                    <a:pt x="2401676" y="627911"/>
                  </a:lnTo>
                  <a:lnTo>
                    <a:pt x="2401676" y="83518"/>
                  </a:lnTo>
                  <a:cubicBezTo>
                    <a:pt x="2401676" y="35441"/>
                    <a:pt x="2361038" y="-2533"/>
                    <a:pt x="2312960" y="132"/>
                  </a:cubicBezTo>
                  <a:close/>
                </a:path>
              </a:pathLst>
            </a:custGeom>
            <a:solidFill>
              <a:schemeClr val="accent5"/>
            </a:solidFill>
            <a:ln w="111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914400" marR="0" lvl="2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abling </a:t>
              </a:r>
            </a:p>
            <a:p>
              <a:pPr marL="914400" marR="0" lvl="2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nditions</a:t>
              </a:r>
            </a:p>
          </p:txBody>
        </p:sp>
        <p:sp>
          <p:nvSpPr>
            <p:cNvPr id="20" name="Freeform: Shape 6">
              <a:extLst>
                <a:ext uri="{FF2B5EF4-FFF2-40B4-BE49-F238E27FC236}">
                  <a16:creationId xmlns:a16="http://schemas.microsoft.com/office/drawing/2014/main" id="{8FE43A09-3271-4B08-AED6-AFEBDF5C4B47}"/>
                </a:ext>
              </a:extLst>
            </p:cNvPr>
            <p:cNvSpPr/>
            <p:nvPr/>
          </p:nvSpPr>
          <p:spPr>
            <a:xfrm>
              <a:off x="3756652" y="3906900"/>
              <a:ext cx="2339348" cy="2339231"/>
            </a:xfrm>
            <a:custGeom>
              <a:avLst/>
              <a:gdLst>
                <a:gd name="connsiteX0" fmla="*/ 2318400 w 2401674"/>
                <a:gd name="connsiteY0" fmla="*/ 817756 h 2401555"/>
                <a:gd name="connsiteX1" fmla="*/ 1583808 w 2401674"/>
                <a:gd name="connsiteY1" fmla="*/ 83164 h 2401555"/>
                <a:gd name="connsiteX2" fmla="*/ 1487320 w 2401674"/>
                <a:gd name="connsiteY2" fmla="*/ 0 h 2401555"/>
                <a:gd name="connsiteX3" fmla="*/ 627816 w 2401674"/>
                <a:gd name="connsiteY3" fmla="*/ 0 h 2401555"/>
                <a:gd name="connsiteX4" fmla="*/ 87419 w 2401674"/>
                <a:gd name="connsiteY4" fmla="*/ 0 h 2401555"/>
                <a:gd name="connsiteX5" fmla="*/ 147 w 2401674"/>
                <a:gd name="connsiteY5" fmla="*/ 92712 h 2401555"/>
                <a:gd name="connsiteX6" fmla="*/ 2310628 w 2401674"/>
                <a:gd name="connsiteY6" fmla="*/ 2401416 h 2401555"/>
                <a:gd name="connsiteX7" fmla="*/ 2401675 w 2401674"/>
                <a:gd name="connsiteY7" fmla="*/ 2315699 h 2401555"/>
                <a:gd name="connsiteX8" fmla="*/ 2401675 w 2401674"/>
                <a:gd name="connsiteY8" fmla="*/ 1773748 h 2401555"/>
                <a:gd name="connsiteX9" fmla="*/ 2401675 w 2401674"/>
                <a:gd name="connsiteY9" fmla="*/ 914244 h 2401555"/>
                <a:gd name="connsiteX10" fmla="*/ 2318400 w 2401674"/>
                <a:gd name="connsiteY10" fmla="*/ 817756 h 2401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1674" h="2401555">
                  <a:moveTo>
                    <a:pt x="2318400" y="817756"/>
                  </a:moveTo>
                  <a:cubicBezTo>
                    <a:pt x="1940001" y="760574"/>
                    <a:pt x="1640989" y="461563"/>
                    <a:pt x="1583808" y="83164"/>
                  </a:cubicBezTo>
                  <a:cubicBezTo>
                    <a:pt x="1576591" y="35309"/>
                    <a:pt x="1535619" y="0"/>
                    <a:pt x="1487320" y="0"/>
                  </a:cubicBezTo>
                  <a:lnTo>
                    <a:pt x="627816" y="0"/>
                  </a:lnTo>
                  <a:lnTo>
                    <a:pt x="87419" y="0"/>
                  </a:lnTo>
                  <a:cubicBezTo>
                    <a:pt x="37121" y="0"/>
                    <a:pt x="-2739" y="42415"/>
                    <a:pt x="147" y="92712"/>
                  </a:cubicBezTo>
                  <a:cubicBezTo>
                    <a:pt x="70875" y="1335946"/>
                    <a:pt x="1066950" y="2331577"/>
                    <a:pt x="2310628" y="2401416"/>
                  </a:cubicBezTo>
                  <a:cubicBezTo>
                    <a:pt x="2360038" y="2404192"/>
                    <a:pt x="2401675" y="2365109"/>
                    <a:pt x="2401675" y="2315699"/>
                  </a:cubicBezTo>
                  <a:lnTo>
                    <a:pt x="2401675" y="1773748"/>
                  </a:lnTo>
                  <a:lnTo>
                    <a:pt x="2401675" y="914244"/>
                  </a:lnTo>
                  <a:cubicBezTo>
                    <a:pt x="2401675" y="865833"/>
                    <a:pt x="2366255" y="824973"/>
                    <a:pt x="2318400" y="817756"/>
                  </a:cubicBezTo>
                  <a:close/>
                </a:path>
              </a:pathLst>
            </a:custGeom>
            <a:solidFill>
              <a:schemeClr val="accent3"/>
            </a:solidFill>
            <a:ln w="111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914400" marR="0" lvl="2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gitimacy  &amp; Interactions</a:t>
              </a:r>
            </a:p>
          </p:txBody>
        </p:sp>
        <p:sp>
          <p:nvSpPr>
            <p:cNvPr id="21" name="Freeform: Shape 7">
              <a:extLst>
                <a:ext uri="{FF2B5EF4-FFF2-40B4-BE49-F238E27FC236}">
                  <a16:creationId xmlns:a16="http://schemas.microsoft.com/office/drawing/2014/main" id="{338551E6-C0CB-FFA7-F680-FD90DC721440}"/>
                </a:ext>
              </a:extLst>
            </p:cNvPr>
            <p:cNvSpPr/>
            <p:nvPr/>
          </p:nvSpPr>
          <p:spPr>
            <a:xfrm>
              <a:off x="6190958" y="3906791"/>
              <a:ext cx="2339352" cy="2339247"/>
            </a:xfrm>
            <a:custGeom>
              <a:avLst/>
              <a:gdLst>
                <a:gd name="connsiteX0" fmla="*/ 2316254 w 2401678"/>
                <a:gd name="connsiteY0" fmla="*/ 0 h 2401571"/>
                <a:gd name="connsiteX1" fmla="*/ 1773859 w 2401678"/>
                <a:gd name="connsiteY1" fmla="*/ 0 h 2401571"/>
                <a:gd name="connsiteX2" fmla="*/ 911579 w 2401678"/>
                <a:gd name="connsiteY2" fmla="*/ 0 h 2401571"/>
                <a:gd name="connsiteX3" fmla="*/ 818200 w 2401678"/>
                <a:gd name="connsiteY3" fmla="*/ 80499 h 2401571"/>
                <a:gd name="connsiteX4" fmla="*/ 80499 w 2401678"/>
                <a:gd name="connsiteY4" fmla="*/ 818200 h 2401571"/>
                <a:gd name="connsiteX5" fmla="*/ 0 w 2401678"/>
                <a:gd name="connsiteY5" fmla="*/ 911579 h 2401571"/>
                <a:gd name="connsiteX6" fmla="*/ 0 w 2401678"/>
                <a:gd name="connsiteY6" fmla="*/ 1773859 h 2401571"/>
                <a:gd name="connsiteX7" fmla="*/ 0 w 2401678"/>
                <a:gd name="connsiteY7" fmla="*/ 2311924 h 2401571"/>
                <a:gd name="connsiteX8" fmla="*/ 95044 w 2401678"/>
                <a:gd name="connsiteY8" fmla="*/ 2401416 h 2401571"/>
                <a:gd name="connsiteX9" fmla="*/ 2401527 w 2401678"/>
                <a:gd name="connsiteY9" fmla="*/ 90825 h 2401571"/>
                <a:gd name="connsiteX10" fmla="*/ 2316254 w 2401678"/>
                <a:gd name="connsiteY10" fmla="*/ 0 h 240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1678" h="2401571">
                  <a:moveTo>
                    <a:pt x="2316254" y="0"/>
                  </a:moveTo>
                  <a:lnTo>
                    <a:pt x="1773859" y="0"/>
                  </a:lnTo>
                  <a:lnTo>
                    <a:pt x="911579" y="0"/>
                  </a:lnTo>
                  <a:cubicBezTo>
                    <a:pt x="864834" y="0"/>
                    <a:pt x="825084" y="34198"/>
                    <a:pt x="818200" y="80499"/>
                  </a:cubicBezTo>
                  <a:cubicBezTo>
                    <a:pt x="761907" y="461119"/>
                    <a:pt x="461119" y="762018"/>
                    <a:pt x="80499" y="818200"/>
                  </a:cubicBezTo>
                  <a:cubicBezTo>
                    <a:pt x="34198" y="825084"/>
                    <a:pt x="0" y="864834"/>
                    <a:pt x="0" y="911579"/>
                  </a:cubicBezTo>
                  <a:lnTo>
                    <a:pt x="0" y="1773859"/>
                  </a:lnTo>
                  <a:lnTo>
                    <a:pt x="0" y="2311924"/>
                  </a:lnTo>
                  <a:cubicBezTo>
                    <a:pt x="0" y="2363554"/>
                    <a:pt x="43525" y="2404414"/>
                    <a:pt x="95044" y="2401416"/>
                  </a:cubicBezTo>
                  <a:cubicBezTo>
                    <a:pt x="1337501" y="2329578"/>
                    <a:pt x="2331910" y="1333725"/>
                    <a:pt x="2401527" y="90825"/>
                  </a:cubicBezTo>
                  <a:cubicBezTo>
                    <a:pt x="2404414" y="41526"/>
                    <a:pt x="2365553" y="0"/>
                    <a:pt x="2316254" y="0"/>
                  </a:cubicBezTo>
                  <a:close/>
                </a:path>
              </a:pathLst>
            </a:custGeom>
            <a:solidFill>
              <a:schemeClr val="accent4"/>
            </a:solidFill>
            <a:ln w="111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cial &amp; Cultural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rivers</a:t>
              </a:r>
            </a:p>
          </p:txBody>
        </p:sp>
        <p:sp>
          <p:nvSpPr>
            <p:cNvPr id="22" name="Freeform: Shape 8">
              <a:extLst>
                <a:ext uri="{FF2B5EF4-FFF2-40B4-BE49-F238E27FC236}">
                  <a16:creationId xmlns:a16="http://schemas.microsoft.com/office/drawing/2014/main" id="{B5C5C9BE-7359-E9F6-7B48-2BDB356CFD42}"/>
                </a:ext>
              </a:extLst>
            </p:cNvPr>
            <p:cNvSpPr/>
            <p:nvPr/>
          </p:nvSpPr>
          <p:spPr>
            <a:xfrm>
              <a:off x="6190958" y="1471673"/>
              <a:ext cx="2339649" cy="2340161"/>
            </a:xfrm>
            <a:custGeom>
              <a:avLst/>
              <a:gdLst>
                <a:gd name="connsiteX0" fmla="*/ 2401860 w 2401984"/>
                <a:gd name="connsiteY0" fmla="*/ 2315571 h 2402509"/>
                <a:gd name="connsiteX1" fmla="*/ 76502 w 2401984"/>
                <a:gd name="connsiteY1" fmla="*/ 94 h 2402509"/>
                <a:gd name="connsiteX2" fmla="*/ 0 w 2401984"/>
                <a:gd name="connsiteY2" fmla="*/ 73265 h 2402509"/>
                <a:gd name="connsiteX3" fmla="*/ 0 w 2401984"/>
                <a:gd name="connsiteY3" fmla="*/ 628651 h 2402509"/>
                <a:gd name="connsiteX4" fmla="*/ 0 w 2401984"/>
                <a:gd name="connsiteY4" fmla="*/ 1486934 h 2402509"/>
                <a:gd name="connsiteX5" fmla="*/ 84385 w 2401984"/>
                <a:gd name="connsiteY5" fmla="*/ 1584865 h 2402509"/>
                <a:gd name="connsiteX6" fmla="*/ 817645 w 2401984"/>
                <a:gd name="connsiteY6" fmla="*/ 2318125 h 2402509"/>
                <a:gd name="connsiteX7" fmla="*/ 915576 w 2401984"/>
                <a:gd name="connsiteY7" fmla="*/ 2402510 h 2402509"/>
                <a:gd name="connsiteX8" fmla="*/ 1773859 w 2401984"/>
                <a:gd name="connsiteY8" fmla="*/ 2402510 h 2402509"/>
                <a:gd name="connsiteX9" fmla="*/ 2320029 w 2401984"/>
                <a:gd name="connsiteY9" fmla="*/ 2402510 h 2402509"/>
                <a:gd name="connsiteX10" fmla="*/ 2401860 w 2401984"/>
                <a:gd name="connsiteY10" fmla="*/ 2315571 h 240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01984" h="2402509">
                  <a:moveTo>
                    <a:pt x="2401860" y="2315571"/>
                  </a:moveTo>
                  <a:cubicBezTo>
                    <a:pt x="2333686" y="1064565"/>
                    <a:pt x="1328840" y="63050"/>
                    <a:pt x="76502" y="94"/>
                  </a:cubicBezTo>
                  <a:cubicBezTo>
                    <a:pt x="34864" y="-2015"/>
                    <a:pt x="0" y="31517"/>
                    <a:pt x="0" y="73265"/>
                  </a:cubicBezTo>
                  <a:lnTo>
                    <a:pt x="0" y="628651"/>
                  </a:lnTo>
                  <a:lnTo>
                    <a:pt x="0" y="1486934"/>
                  </a:lnTo>
                  <a:cubicBezTo>
                    <a:pt x="0" y="1536010"/>
                    <a:pt x="35975" y="1577426"/>
                    <a:pt x="84385" y="1584865"/>
                  </a:cubicBezTo>
                  <a:cubicBezTo>
                    <a:pt x="461785" y="1642380"/>
                    <a:pt x="760019" y="1940614"/>
                    <a:pt x="817645" y="2318125"/>
                  </a:cubicBezTo>
                  <a:cubicBezTo>
                    <a:pt x="825084" y="2366646"/>
                    <a:pt x="866499" y="2402510"/>
                    <a:pt x="915576" y="2402510"/>
                  </a:cubicBezTo>
                  <a:lnTo>
                    <a:pt x="1773859" y="2402510"/>
                  </a:lnTo>
                  <a:lnTo>
                    <a:pt x="2320029" y="2402510"/>
                  </a:lnTo>
                  <a:cubicBezTo>
                    <a:pt x="2367329" y="2402399"/>
                    <a:pt x="2404414" y="2362649"/>
                    <a:pt x="2401860" y="2315571"/>
                  </a:cubicBezTo>
                  <a:close/>
                </a:path>
              </a:pathLst>
            </a:custGeom>
            <a:solidFill>
              <a:schemeClr val="accent1"/>
            </a:solidFill>
            <a:ln w="111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457200" marR="0" lvl="1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terrence</a:t>
              </a:r>
            </a:p>
          </p:txBody>
        </p:sp>
      </p:grpSp>
      <p:sp>
        <p:nvSpPr>
          <p:cNvPr id="26" name="CustomShape 15">
            <a:extLst>
              <a:ext uri="{FF2B5EF4-FFF2-40B4-BE49-F238E27FC236}">
                <a16:creationId xmlns:a16="http://schemas.microsoft.com/office/drawing/2014/main" id="{6EF85704-3A62-751F-0020-332389CBFD03}"/>
              </a:ext>
            </a:extLst>
          </p:cNvPr>
          <p:cNvSpPr/>
          <p:nvPr/>
        </p:nvSpPr>
        <p:spPr>
          <a:xfrm>
            <a:off x="8940800" y="2923560"/>
            <a:ext cx="3139000" cy="16230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-1" normalizeH="0" baseline="0" noProof="0" dirty="0">
                <a:ln>
                  <a:noFill/>
                </a:ln>
                <a:solidFill>
                  <a:srgbClr val="0051A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tempting to increase deterrence excessively can weaken other drivers and result in a net decrease in compliance</a:t>
            </a:r>
          </a:p>
        </p:txBody>
      </p:sp>
    </p:spTree>
    <p:extLst>
      <p:ext uri="{BB962C8B-B14F-4D97-AF65-F5344CB8AC3E}">
        <p14:creationId xmlns:p14="http://schemas.microsoft.com/office/powerpoint/2010/main" val="467486793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257FFF14-6711-B09F-EEA3-861DFBF7B761}"/>
              </a:ext>
            </a:extLst>
          </p:cNvPr>
          <p:cNvSpPr txBox="1"/>
          <p:nvPr/>
        </p:nvSpPr>
        <p:spPr>
          <a:xfrm>
            <a:off x="152361" y="365125"/>
            <a:ext cx="53933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400" i="0" u="none" strike="noStrike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p of Regulatory </a:t>
            </a:r>
            <a:r>
              <a:rPr lang="en-US" sz="4400" dirty="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</a:t>
            </a:r>
            <a:r>
              <a:rPr kumimoji="0" lang="en-US" sz="4400" i="0" u="none" strike="noStrike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stems</a:t>
            </a:r>
            <a:endParaRPr kumimoji="0" lang="en-US" sz="4400" i="0" u="none" strike="noStrike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1708062-7E00-7A1A-B724-EAA548122A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3830751"/>
              </p:ext>
            </p:extLst>
          </p:nvPr>
        </p:nvGraphicFramePr>
        <p:xfrm>
          <a:off x="2499073" y="705763"/>
          <a:ext cx="7853615" cy="57598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030734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7" name="Rectangle 4106">
            <a:extLst>
              <a:ext uri="{FF2B5EF4-FFF2-40B4-BE49-F238E27FC236}">
                <a16:creationId xmlns:a16="http://schemas.microsoft.com/office/drawing/2014/main" id="{B1595A09-E336-4D1B-9B3A-06A2287A54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BC8FC1-2562-02FA-A7AD-49425540F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4777739"/>
            <a:ext cx="3418990" cy="141211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b="1" dirty="0">
                <a:solidFill>
                  <a:srgbClr val="0051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ing There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EE5663B5-1F8C-051A-A81E-703137EDB4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9" b="4199"/>
          <a:stretch/>
        </p:blipFill>
        <p:spPr bwMode="auto">
          <a:xfrm>
            <a:off x="20" y="10"/>
            <a:ext cx="12191980" cy="4558420"/>
          </a:xfrm>
          <a:custGeom>
            <a:avLst/>
            <a:gdLst/>
            <a:ahLst/>
            <a:cxnLst/>
            <a:rect l="l" t="t" r="r" b="b"/>
            <a:pathLst>
              <a:path w="12188952" h="4558430">
                <a:moveTo>
                  <a:pt x="6789701" y="4490221"/>
                </a:moveTo>
                <a:lnTo>
                  <a:pt x="6788702" y="4490299"/>
                </a:lnTo>
                <a:lnTo>
                  <a:pt x="6788476" y="4490833"/>
                </a:lnTo>
                <a:close/>
                <a:moveTo>
                  <a:pt x="0" y="0"/>
                </a:moveTo>
                <a:lnTo>
                  <a:pt x="12188952" y="0"/>
                </a:lnTo>
                <a:lnTo>
                  <a:pt x="12188952" y="3596895"/>
                </a:lnTo>
                <a:lnTo>
                  <a:pt x="12061096" y="3635026"/>
                </a:lnTo>
                <a:cubicBezTo>
                  <a:pt x="11933500" y="3671240"/>
                  <a:pt x="11805390" y="3705769"/>
                  <a:pt x="11676800" y="3738601"/>
                </a:cubicBezTo>
                <a:cubicBezTo>
                  <a:pt x="11262789" y="3846108"/>
                  <a:pt x="10845343" y="3939710"/>
                  <a:pt x="10425355" y="4022140"/>
                </a:cubicBezTo>
                <a:cubicBezTo>
                  <a:pt x="10092810" y="4087351"/>
                  <a:pt x="9759033" y="4145748"/>
                  <a:pt x="9424022" y="4197302"/>
                </a:cubicBezTo>
                <a:cubicBezTo>
                  <a:pt x="9102997" y="4246959"/>
                  <a:pt x="8781133" y="4291526"/>
                  <a:pt x="8458419" y="4331003"/>
                </a:cubicBezTo>
                <a:cubicBezTo>
                  <a:pt x="8211360" y="4361169"/>
                  <a:pt x="7963792" y="4386742"/>
                  <a:pt x="7715970" y="4410950"/>
                </a:cubicBezTo>
                <a:lnTo>
                  <a:pt x="6951716" y="4476730"/>
                </a:lnTo>
                <a:lnTo>
                  <a:pt x="6936303" y="4478801"/>
                </a:lnTo>
                <a:lnTo>
                  <a:pt x="6790448" y="4490162"/>
                </a:lnTo>
                <a:lnTo>
                  <a:pt x="6799941" y="4491982"/>
                </a:lnTo>
                <a:cubicBezTo>
                  <a:pt x="6811623" y="4492448"/>
                  <a:pt x="6823734" y="4490275"/>
                  <a:pt x="6835432" y="4490275"/>
                </a:cubicBezTo>
                <a:cubicBezTo>
                  <a:pt x="6851580" y="4490275"/>
                  <a:pt x="6867729" y="4487668"/>
                  <a:pt x="6884003" y="4487297"/>
                </a:cubicBezTo>
                <a:cubicBezTo>
                  <a:pt x="7115805" y="4481835"/>
                  <a:pt x="7347351" y="4469668"/>
                  <a:pt x="7578771" y="4454770"/>
                </a:cubicBezTo>
                <a:cubicBezTo>
                  <a:pt x="7927552" y="4432302"/>
                  <a:pt x="8276080" y="4404123"/>
                  <a:pt x="8623845" y="4367873"/>
                </a:cubicBezTo>
                <a:cubicBezTo>
                  <a:pt x="8909939" y="4338575"/>
                  <a:pt x="9195310" y="4303940"/>
                  <a:pt x="9479970" y="4263967"/>
                </a:cubicBezTo>
                <a:cubicBezTo>
                  <a:pt x="9864901" y="4209593"/>
                  <a:pt x="10248014" y="4144879"/>
                  <a:pt x="10629308" y="4069810"/>
                </a:cubicBezTo>
                <a:cubicBezTo>
                  <a:pt x="11090114" y="3978690"/>
                  <a:pt x="11546975" y="3871184"/>
                  <a:pt x="11998498" y="3743816"/>
                </a:cubicBezTo>
                <a:lnTo>
                  <a:pt x="12188952" y="3687715"/>
                </a:lnTo>
                <a:lnTo>
                  <a:pt x="12188952" y="3742439"/>
                </a:lnTo>
                <a:lnTo>
                  <a:pt x="11829257" y="3846853"/>
                </a:lnTo>
                <a:cubicBezTo>
                  <a:pt x="11534769" y="3926550"/>
                  <a:pt x="11238120" y="3997436"/>
                  <a:pt x="10939183" y="4061368"/>
                </a:cubicBezTo>
                <a:cubicBezTo>
                  <a:pt x="10622824" y="4129150"/>
                  <a:pt x="10304941" y="4189147"/>
                  <a:pt x="9985530" y="4241373"/>
                </a:cubicBezTo>
                <a:cubicBezTo>
                  <a:pt x="9720036" y="4284822"/>
                  <a:pt x="9453814" y="4323467"/>
                  <a:pt x="9186882" y="4357320"/>
                </a:cubicBezTo>
                <a:cubicBezTo>
                  <a:pt x="8984197" y="4382894"/>
                  <a:pt x="8781514" y="4406977"/>
                  <a:pt x="8578198" y="4426839"/>
                </a:cubicBezTo>
                <a:cubicBezTo>
                  <a:pt x="8340547" y="4449559"/>
                  <a:pt x="8102644" y="4471034"/>
                  <a:pt x="7864358" y="4488290"/>
                </a:cubicBezTo>
                <a:cubicBezTo>
                  <a:pt x="7554994" y="4510634"/>
                  <a:pt x="7245502" y="4528512"/>
                  <a:pt x="6935502" y="4539684"/>
                </a:cubicBezTo>
                <a:cubicBezTo>
                  <a:pt x="6782917" y="4545147"/>
                  <a:pt x="6630334" y="4548995"/>
                  <a:pt x="6477750" y="4553587"/>
                </a:cubicBezTo>
                <a:cubicBezTo>
                  <a:pt x="6439195" y="4551503"/>
                  <a:pt x="6400529" y="4553128"/>
                  <a:pt x="6362294" y="4558430"/>
                </a:cubicBezTo>
                <a:lnTo>
                  <a:pt x="6057129" y="4558430"/>
                </a:lnTo>
                <a:lnTo>
                  <a:pt x="5977784" y="4553836"/>
                </a:lnTo>
                <a:cubicBezTo>
                  <a:pt x="5740261" y="4541423"/>
                  <a:pt x="5502739" y="4527644"/>
                  <a:pt x="5265087" y="4517587"/>
                </a:cubicBezTo>
                <a:cubicBezTo>
                  <a:pt x="4958267" y="4505171"/>
                  <a:pt x="4651826" y="4484691"/>
                  <a:pt x="4346277" y="4455517"/>
                </a:cubicBezTo>
                <a:cubicBezTo>
                  <a:pt x="4021654" y="4424605"/>
                  <a:pt x="3697795" y="4389970"/>
                  <a:pt x="3373045" y="4356948"/>
                </a:cubicBezTo>
                <a:cubicBezTo>
                  <a:pt x="3035412" y="4322686"/>
                  <a:pt x="2698456" y="4283047"/>
                  <a:pt x="2362173" y="4238021"/>
                </a:cubicBezTo>
                <a:cubicBezTo>
                  <a:pt x="1984692" y="4187868"/>
                  <a:pt x="1608364" y="4130142"/>
                  <a:pt x="1233177" y="4064845"/>
                </a:cubicBezTo>
                <a:cubicBezTo>
                  <a:pt x="842181" y="3996132"/>
                  <a:pt x="453758" y="3917644"/>
                  <a:pt x="68500" y="3825138"/>
                </a:cubicBezTo>
                <a:lnTo>
                  <a:pt x="0" y="3807783"/>
                </a:lnTo>
                <a:lnTo>
                  <a:pt x="0" y="3751294"/>
                </a:lnTo>
                <a:lnTo>
                  <a:pt x="72441" y="3770071"/>
                </a:lnTo>
                <a:cubicBezTo>
                  <a:pt x="247961" y="3812249"/>
                  <a:pt x="424164" y="3851509"/>
                  <a:pt x="600716" y="3888441"/>
                </a:cubicBezTo>
                <a:cubicBezTo>
                  <a:pt x="988279" y="3969255"/>
                  <a:pt x="1378133" y="4038153"/>
                  <a:pt x="1769512" y="4098609"/>
                </a:cubicBezTo>
                <a:cubicBezTo>
                  <a:pt x="2052426" y="4142185"/>
                  <a:pt x="2335725" y="4182282"/>
                  <a:pt x="2613554" y="4215551"/>
                </a:cubicBezTo>
                <a:cubicBezTo>
                  <a:pt x="2605544" y="4218158"/>
                  <a:pt x="2594611" y="4208102"/>
                  <a:pt x="2581134" y="4205620"/>
                </a:cubicBezTo>
                <a:cubicBezTo>
                  <a:pt x="2087178" y="4113668"/>
                  <a:pt x="1597684" y="4002775"/>
                  <a:pt x="1112635" y="3872923"/>
                </a:cubicBezTo>
                <a:cubicBezTo>
                  <a:pt x="880453" y="3810852"/>
                  <a:pt x="649713" y="3744374"/>
                  <a:pt x="420412" y="3673490"/>
                </a:cubicBezTo>
                <a:lnTo>
                  <a:pt x="0" y="35345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8" name="sketch line">
            <a:extLst>
              <a:ext uri="{FF2B5EF4-FFF2-40B4-BE49-F238E27FC236}">
                <a16:creationId xmlns:a16="http://schemas.microsoft.com/office/drawing/2014/main" id="{3540989C-C7B8-473B-BF87-6F2DA6A90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661305" y="5468206"/>
            <a:ext cx="1371600" cy="18288"/>
          </a:xfrm>
          <a:custGeom>
            <a:avLst/>
            <a:gdLst>
              <a:gd name="connsiteX0" fmla="*/ 0 w 1371600"/>
              <a:gd name="connsiteY0" fmla="*/ 0 h 18288"/>
              <a:gd name="connsiteX1" fmla="*/ 685800 w 1371600"/>
              <a:gd name="connsiteY1" fmla="*/ 0 h 18288"/>
              <a:gd name="connsiteX2" fmla="*/ 1371600 w 1371600"/>
              <a:gd name="connsiteY2" fmla="*/ 0 h 18288"/>
              <a:gd name="connsiteX3" fmla="*/ 1371600 w 1371600"/>
              <a:gd name="connsiteY3" fmla="*/ 18288 h 18288"/>
              <a:gd name="connsiteX4" fmla="*/ 713232 w 1371600"/>
              <a:gd name="connsiteY4" fmla="*/ 18288 h 18288"/>
              <a:gd name="connsiteX5" fmla="*/ 0 w 1371600"/>
              <a:gd name="connsiteY5" fmla="*/ 18288 h 18288"/>
              <a:gd name="connsiteX6" fmla="*/ 0 w 1371600"/>
              <a:gd name="connsiteY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71600" h="18288" fill="none" extrusionOk="0">
                <a:moveTo>
                  <a:pt x="0" y="0"/>
                </a:moveTo>
                <a:cubicBezTo>
                  <a:pt x="247303" y="31625"/>
                  <a:pt x="422310" y="-25629"/>
                  <a:pt x="685800" y="0"/>
                </a:cubicBezTo>
                <a:cubicBezTo>
                  <a:pt x="949290" y="25629"/>
                  <a:pt x="1192357" y="6696"/>
                  <a:pt x="1371600" y="0"/>
                </a:cubicBezTo>
                <a:cubicBezTo>
                  <a:pt x="1371355" y="6649"/>
                  <a:pt x="1371915" y="11310"/>
                  <a:pt x="1371600" y="18288"/>
                </a:cubicBezTo>
                <a:cubicBezTo>
                  <a:pt x="1107995" y="26464"/>
                  <a:pt x="1033361" y="32942"/>
                  <a:pt x="713232" y="18288"/>
                </a:cubicBezTo>
                <a:cubicBezTo>
                  <a:pt x="393103" y="3634"/>
                  <a:pt x="289343" y="43221"/>
                  <a:pt x="0" y="18288"/>
                </a:cubicBezTo>
                <a:cubicBezTo>
                  <a:pt x="-459" y="11562"/>
                  <a:pt x="-31" y="5093"/>
                  <a:pt x="0" y="0"/>
                </a:cubicBezTo>
                <a:close/>
              </a:path>
              <a:path w="1371600" h="18288" stroke="0" extrusionOk="0">
                <a:moveTo>
                  <a:pt x="0" y="0"/>
                </a:moveTo>
                <a:cubicBezTo>
                  <a:pt x="170249" y="-24099"/>
                  <a:pt x="504634" y="14338"/>
                  <a:pt x="644652" y="0"/>
                </a:cubicBezTo>
                <a:cubicBezTo>
                  <a:pt x="784670" y="-14338"/>
                  <a:pt x="1087773" y="8679"/>
                  <a:pt x="1371600" y="0"/>
                </a:cubicBezTo>
                <a:cubicBezTo>
                  <a:pt x="1372456" y="3662"/>
                  <a:pt x="1371030" y="13946"/>
                  <a:pt x="1371600" y="18288"/>
                </a:cubicBezTo>
                <a:cubicBezTo>
                  <a:pt x="1176823" y="-1409"/>
                  <a:pt x="900830" y="9989"/>
                  <a:pt x="713232" y="18288"/>
                </a:cubicBezTo>
                <a:cubicBezTo>
                  <a:pt x="525634" y="26587"/>
                  <a:pt x="282837" y="5724"/>
                  <a:pt x="0" y="18288"/>
                </a:cubicBezTo>
                <a:cubicBezTo>
                  <a:pt x="367" y="13143"/>
                  <a:pt x="-823" y="5844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615697673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AB67ACF-F30A-005B-925A-4AAE894CF6F7}"/>
              </a:ext>
            </a:extLst>
          </p:cNvPr>
          <p:cNvSpPr txBox="1"/>
          <p:nvPr/>
        </p:nvSpPr>
        <p:spPr>
          <a:xfrm>
            <a:off x="4654294" y="4777739"/>
            <a:ext cx="6897626" cy="23422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8750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1.eplo.int/iride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875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8750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1">
            <a:extLst>
              <a:ext uri="{FF2B5EF4-FFF2-40B4-BE49-F238E27FC236}">
                <a16:creationId xmlns:a16="http://schemas.microsoft.com/office/drawing/2014/main" id="{DCACAD5A-FC62-FC38-6BD1-3F949219A2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2432" y="126124"/>
            <a:ext cx="2784700" cy="1461967"/>
          </a:xfrm>
          <a:prstGeom prst="rect">
            <a:avLst/>
          </a:prstGeom>
          <a:noFill/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5AD9160-999F-7E53-AC04-34744C915932}"/>
              </a:ext>
            </a:extLst>
          </p:cNvPr>
          <p:cNvSpPr txBox="1"/>
          <p:nvPr/>
        </p:nvSpPr>
        <p:spPr>
          <a:xfrm>
            <a:off x="10247586" y="6430978"/>
            <a:ext cx="5749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 err="1">
                <a:solidFill>
                  <a:srgbClr val="334C8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blanc@eplo.int</a:t>
            </a:r>
            <a:endParaRPr lang="fr-CA" dirty="0">
              <a:solidFill>
                <a:srgbClr val="334C8E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03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45792-3750-C467-338F-4C2895E68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wo important barriers to greater equity:</a:t>
            </a:r>
            <a:endParaRPr lang="fr-FR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4E6B474-2DC3-B019-7DFD-0A5B015811C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431751"/>
              </p:ext>
            </p:extLst>
          </p:nvPr>
        </p:nvGraphicFramePr>
        <p:xfrm>
          <a:off x="4145974" y="493568"/>
          <a:ext cx="7147502" cy="5496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7F04FA-3296-6EEC-3B31-0E39B967F048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 marL="342900" indent="-342900">
              <a:buAutoNum type="arabicPeriod"/>
            </a:pPr>
            <a:r>
              <a:rPr lang="en-GB" sz="1800" dirty="0"/>
              <a:t>Exclusion of providers from less privileged backgrounds from access to the market</a:t>
            </a:r>
          </a:p>
          <a:p>
            <a:pPr marL="342900" indent="-342900">
              <a:buAutoNum type="arabicPeriod"/>
            </a:pPr>
            <a:r>
              <a:rPr lang="en-GB" sz="1800" dirty="0"/>
              <a:t>Vulnerable patients left exposed to abuse by ineffective regulation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300195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CustomShape 1"/>
          <p:cNvSpPr/>
          <p:nvPr/>
        </p:nvSpPr>
        <p:spPr>
          <a:xfrm>
            <a:off x="828483" y="958915"/>
            <a:ext cx="10535032" cy="73855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10260" anchor="b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4000" spc="-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</a:t>
            </a:r>
            <a:r>
              <a:rPr lang="en-GB" sz="4000" i="1" spc="-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en-GB" sz="4000" spc="-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a trade-off between better protection and reduced market access!</a:t>
            </a:r>
            <a:endParaRPr kumimoji="0" lang="en-GB" sz="4000" b="0" i="0" u="none" strike="noStrike" kern="1200" cap="none" spc="-1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07" name="Group 12"/>
          <p:cNvGrpSpPr/>
          <p:nvPr/>
        </p:nvGrpSpPr>
        <p:grpSpPr>
          <a:xfrm>
            <a:off x="1524000" y="857250"/>
            <a:ext cx="27000" cy="27000"/>
            <a:chOff x="0" y="0"/>
            <a:chExt cx="36000" cy="36000"/>
          </a:xfrm>
        </p:grpSpPr>
      </p:grpSp>
      <p:graphicFrame>
        <p:nvGraphicFramePr>
          <p:cNvPr id="2" name="Diagram 5">
            <a:extLst>
              <a:ext uri="{FF2B5EF4-FFF2-40B4-BE49-F238E27FC236}">
                <a16:creationId xmlns:a16="http://schemas.microsoft.com/office/drawing/2014/main" id="{5983BA9E-F89D-029A-5189-A4263B0996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3519783"/>
              </p:ext>
            </p:extLst>
          </p:nvPr>
        </p:nvGraphicFramePr>
        <p:xfrm>
          <a:off x="659792" y="1828800"/>
          <a:ext cx="10872415" cy="4469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34632100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923F1FF-86A7-17AE-CCE9-18B9FBB45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Formalistic licensing gives market dominance to larger firms</a:t>
            </a:r>
            <a:endParaRPr lang="fr-FR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042FEC-9A44-4DB7-94F1-2024F78876A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 lnSpcReduction="10000"/>
          </a:bodyPr>
          <a:lstStyle/>
          <a:p>
            <a:r>
              <a:rPr lang="en-GB" sz="1600" dirty="0"/>
              <a:t>Focus on formal checks before starting work:</a:t>
            </a:r>
          </a:p>
          <a:p>
            <a:pPr marL="285750" indent="-285750">
              <a:buFontTx/>
              <a:buChar char="-"/>
            </a:pPr>
            <a:r>
              <a:rPr lang="en-GB" sz="1600" dirty="0"/>
              <a:t>Long (very long), complex set of questions and documents to fill and provide</a:t>
            </a:r>
          </a:p>
          <a:p>
            <a:pPr marL="285750" indent="-285750">
              <a:buFontTx/>
              <a:buChar char="-"/>
            </a:pPr>
            <a:r>
              <a:rPr lang="fr-FR" sz="1600" dirty="0" err="1"/>
              <a:t>Only</a:t>
            </a:r>
            <a:r>
              <a:rPr lang="fr-FR" sz="1600" dirty="0"/>
              <a:t> </a:t>
            </a:r>
            <a:r>
              <a:rPr lang="fr-FR" sz="1600" dirty="0" err="1"/>
              <a:t>larger</a:t>
            </a:r>
            <a:r>
              <a:rPr lang="fr-FR" sz="1600" dirty="0"/>
              <a:t> </a:t>
            </a:r>
            <a:r>
              <a:rPr lang="fr-FR" sz="1600" dirty="0" err="1"/>
              <a:t>firms</a:t>
            </a:r>
            <a:r>
              <a:rPr lang="fr-FR" sz="1600" dirty="0"/>
              <a:t> </a:t>
            </a:r>
            <a:r>
              <a:rPr lang="fr-FR" sz="1600" dirty="0" err="1"/>
              <a:t>with</a:t>
            </a:r>
            <a:r>
              <a:rPr lang="fr-FR" sz="1600" dirty="0"/>
              <a:t> </a:t>
            </a:r>
            <a:r>
              <a:rPr lang="fr-FR" sz="1600" dirty="0" err="1"/>
              <a:t>very</a:t>
            </a:r>
            <a:r>
              <a:rPr lang="fr-FR" sz="1600" dirty="0"/>
              <a:t> </a:t>
            </a:r>
            <a:r>
              <a:rPr lang="fr-FR" sz="1600" dirty="0" err="1"/>
              <a:t>formal</a:t>
            </a:r>
            <a:r>
              <a:rPr lang="fr-FR" sz="1600" dirty="0"/>
              <a:t> </a:t>
            </a:r>
            <a:r>
              <a:rPr lang="fr-FR" sz="1600" dirty="0" err="1"/>
              <a:t>processes</a:t>
            </a:r>
            <a:r>
              <a:rPr lang="fr-FR" sz="1600" dirty="0"/>
              <a:t> and </a:t>
            </a:r>
            <a:r>
              <a:rPr lang="fr-FR" sz="1600" dirty="0" err="1"/>
              <a:t>resources</a:t>
            </a:r>
            <a:r>
              <a:rPr lang="fr-FR" sz="1600" dirty="0"/>
              <a:t> to </a:t>
            </a:r>
            <a:r>
              <a:rPr lang="fr-FR" sz="1600" dirty="0" err="1"/>
              <a:t>pay</a:t>
            </a:r>
            <a:r>
              <a:rPr lang="fr-FR" sz="1600" dirty="0"/>
              <a:t> </a:t>
            </a:r>
            <a:r>
              <a:rPr lang="fr-FR" sz="1600" dirty="0" err="1"/>
              <a:t>specialists</a:t>
            </a:r>
            <a:r>
              <a:rPr lang="fr-FR" sz="1600" dirty="0"/>
              <a:t> can enter </a:t>
            </a:r>
            <a:r>
              <a:rPr lang="fr-FR" sz="1600" dirty="0" err="1"/>
              <a:t>market</a:t>
            </a:r>
            <a:endParaRPr lang="fr-FR" sz="1600" dirty="0"/>
          </a:p>
          <a:p>
            <a:pPr marL="285750" indent="-285750">
              <a:buFontTx/>
              <a:buChar char="-"/>
            </a:pPr>
            <a:r>
              <a:rPr lang="fr-FR" sz="1600" dirty="0" err="1"/>
              <a:t>Smaller</a:t>
            </a:r>
            <a:r>
              <a:rPr lang="fr-FR" sz="1600" dirty="0"/>
              <a:t> providers (</a:t>
            </a:r>
            <a:r>
              <a:rPr lang="fr-FR" sz="1600" dirty="0" err="1"/>
              <a:t>often</a:t>
            </a:r>
            <a:r>
              <a:rPr lang="fr-FR" sz="1600" dirty="0"/>
              <a:t> </a:t>
            </a:r>
            <a:r>
              <a:rPr lang="fr-FR" sz="1600" dirty="0" err="1"/>
              <a:t>minorities</a:t>
            </a:r>
            <a:r>
              <a:rPr lang="fr-FR" sz="1600" dirty="0"/>
              <a:t>, people </a:t>
            </a:r>
            <a:r>
              <a:rPr lang="fr-FR" sz="1600" dirty="0" err="1"/>
              <a:t>with</a:t>
            </a:r>
            <a:r>
              <a:rPr lang="fr-FR" sz="1600" dirty="0"/>
              <a:t> </a:t>
            </a:r>
            <a:r>
              <a:rPr lang="fr-FR" sz="1600" dirty="0" err="1"/>
              <a:t>less</a:t>
            </a:r>
            <a:r>
              <a:rPr lang="fr-FR" sz="1600" dirty="0"/>
              <a:t> social capital, </a:t>
            </a:r>
            <a:r>
              <a:rPr lang="fr-FR" sz="1600" dirty="0" err="1"/>
              <a:t>formerly</a:t>
            </a:r>
            <a:r>
              <a:rPr lang="fr-FR" sz="1600" dirty="0"/>
              <a:t> </a:t>
            </a:r>
            <a:r>
              <a:rPr lang="fr-FR" sz="1600" dirty="0" err="1"/>
              <a:t>informal</a:t>
            </a:r>
            <a:r>
              <a:rPr lang="fr-FR" sz="1600" dirty="0"/>
              <a:t> providers etc.) are </a:t>
            </a:r>
            <a:r>
              <a:rPr lang="fr-FR" sz="1600" dirty="0" err="1"/>
              <a:t>excluded</a:t>
            </a:r>
            <a:endParaRPr lang="fr-FR" sz="1600"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5089D25D-C4B1-9705-B43E-AA4E88CA74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4151413"/>
              </p:ext>
            </p:extLst>
          </p:nvPr>
        </p:nvGraphicFramePr>
        <p:xfrm>
          <a:off x="4129176" y="115020"/>
          <a:ext cx="7953556" cy="6190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626727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D3CFE-DC08-D306-44D7-7A0978B059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442" y="734601"/>
            <a:ext cx="10058400" cy="1450757"/>
          </a:xfrm>
          <a:solidFill>
            <a:schemeClr val="accent1">
              <a:lumMod val="40000"/>
              <a:lumOff val="60000"/>
            </a:schemeClr>
          </a:solidFill>
        </p:spPr>
        <p:txBody>
          <a:bodyPr/>
          <a:lstStyle/>
          <a:p>
            <a:pPr algn="ctr"/>
            <a:r>
              <a:rPr lang="en-GB" dirty="0"/>
              <a:t>Over 400 pages of guidance for the licensing application? </a:t>
            </a:r>
            <a:endParaRPr lang="fr-FR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985AF1-181E-2DBD-5358-EA5652890623}"/>
              </a:ext>
            </a:extLst>
          </p:cNvPr>
          <p:cNvSpPr txBox="1"/>
          <p:nvPr/>
        </p:nvSpPr>
        <p:spPr>
          <a:xfrm>
            <a:off x="5065332" y="3474641"/>
            <a:ext cx="20613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/>
              <a:t>Really?</a:t>
            </a:r>
            <a:endParaRPr lang="fr-FR" sz="4800" dirty="0"/>
          </a:p>
        </p:txBody>
      </p:sp>
    </p:spTree>
    <p:extLst>
      <p:ext uri="{BB962C8B-B14F-4D97-AF65-F5344CB8AC3E}">
        <p14:creationId xmlns:p14="http://schemas.microsoft.com/office/powerpoint/2010/main" val="23343189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icensing Occupations: Ensuring Quality or Restricting Competition?">
            <a:extLst>
              <a:ext uri="{FF2B5EF4-FFF2-40B4-BE49-F238E27FC236}">
                <a16:creationId xmlns:a16="http://schemas.microsoft.com/office/drawing/2014/main" id="{21C02391-7CC4-7F41-04B8-E2F3D75BE1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86" y="354275"/>
            <a:ext cx="3152775" cy="47625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720B497-EAA2-D782-48BD-375749673A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8867" y="354275"/>
            <a:ext cx="4071098" cy="37121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678B2F8-0281-71FD-87A0-A231BDFF14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0161" y="1464986"/>
            <a:ext cx="4891677" cy="496306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96160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DD5AC7E-A233-E2DC-9DC2-961FFC55A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79" y="286603"/>
            <a:ext cx="10393105" cy="804371"/>
          </a:xfrm>
        </p:spPr>
        <p:txBody>
          <a:bodyPr>
            <a:normAutofit/>
          </a:bodyPr>
          <a:lstStyle/>
          <a:p>
            <a:pPr algn="ctr"/>
            <a:r>
              <a:rPr lang="en-GB" sz="5400" b="1" dirty="0">
                <a:solidFill>
                  <a:schemeClr val="accent2"/>
                </a:solidFill>
              </a:rPr>
              <a:t>What do we know about licensing?</a:t>
            </a:r>
            <a:endParaRPr lang="fr-FR" sz="5400" b="1" dirty="0">
              <a:solidFill>
                <a:schemeClr val="accent2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2C7CFAE-1A59-4ACC-B3B1-8C84BF6FEF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97278" y="1090974"/>
            <a:ext cx="4998721" cy="5240458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GB" dirty="0"/>
              <a:t>Limited effectiveness (at best) on quality and safety of service / care provided:</a:t>
            </a:r>
          </a:p>
          <a:p>
            <a:r>
              <a:rPr lang="en-GB" dirty="0"/>
              <a:t>- Extensive comparative of US states data by Kleiner </a:t>
            </a:r>
            <a:r>
              <a:rPr lang="en-GB" i="1" dirty="0"/>
              <a:t>et al. </a:t>
            </a:r>
            <a:r>
              <a:rPr lang="en-GB" dirty="0"/>
              <a:t>shows </a:t>
            </a:r>
            <a:r>
              <a:rPr lang="en-GB" b="1" dirty="0"/>
              <a:t>little if any difference in quality</a:t>
            </a:r>
            <a:r>
              <a:rPr lang="en-GB" dirty="0"/>
              <a:t> between “licensing” and “non licensing” states for identical services</a:t>
            </a:r>
          </a:p>
          <a:p>
            <a:r>
              <a:rPr lang="en-GB" dirty="0"/>
              <a:t>- Checking </a:t>
            </a:r>
            <a:r>
              <a:rPr lang="en-GB" i="1" dirty="0"/>
              <a:t>ex ante </a:t>
            </a:r>
            <a:r>
              <a:rPr lang="en-GB" dirty="0"/>
              <a:t>for an activity where most risks are linked to </a:t>
            </a:r>
            <a:r>
              <a:rPr lang="en-GB" i="1" dirty="0"/>
              <a:t>operations </a:t>
            </a:r>
            <a:r>
              <a:rPr lang="en-GB" dirty="0"/>
              <a:t>and not to </a:t>
            </a:r>
            <a:r>
              <a:rPr lang="en-GB" i="1" dirty="0"/>
              <a:t>physical conditions</a:t>
            </a:r>
            <a:r>
              <a:rPr lang="en-GB" dirty="0"/>
              <a:t> is </a:t>
            </a:r>
            <a:r>
              <a:rPr lang="en-GB" b="1" dirty="0"/>
              <a:t>mostly ineffective</a:t>
            </a:r>
          </a:p>
          <a:p>
            <a:r>
              <a:rPr lang="en-GB" dirty="0"/>
              <a:t>- </a:t>
            </a:r>
            <a:r>
              <a:rPr lang="en-GB" b="1" dirty="0"/>
              <a:t>Reduced competition </a:t>
            </a:r>
            <a:r>
              <a:rPr lang="en-GB" dirty="0"/>
              <a:t>= reduced incentives to improve</a:t>
            </a:r>
          </a:p>
          <a:p>
            <a:r>
              <a:rPr lang="en-GB" dirty="0"/>
              <a:t>- Mostly </a:t>
            </a:r>
            <a:r>
              <a:rPr lang="en-GB" i="1" dirty="0"/>
              <a:t>ex ante </a:t>
            </a:r>
            <a:r>
              <a:rPr lang="en-GB" dirty="0"/>
              <a:t>checks = less focus on maintaining operational quality</a:t>
            </a:r>
          </a:p>
          <a:p>
            <a:r>
              <a:rPr lang="en-GB" dirty="0"/>
              <a:t>- </a:t>
            </a:r>
            <a:r>
              <a:rPr lang="en-GB" b="1" dirty="0"/>
              <a:t>Dominant position </a:t>
            </a:r>
            <a:r>
              <a:rPr lang="en-GB" dirty="0"/>
              <a:t>= providers know the system </a:t>
            </a:r>
            <a:r>
              <a:rPr lang="en-GB" i="1" dirty="0"/>
              <a:t>needs </a:t>
            </a:r>
            <a:r>
              <a:rPr lang="en-GB" dirty="0"/>
              <a:t>them to keep functioning</a:t>
            </a:r>
          </a:p>
          <a:p>
            <a:endParaRPr lang="en-GB" dirty="0"/>
          </a:p>
          <a:p>
            <a:endParaRPr lang="fr-FR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867EF22-5C91-DB22-45DA-D81003BE9D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090974"/>
            <a:ext cx="5204605" cy="5085539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144000"/>
            <a:r>
              <a:rPr lang="en-GB" dirty="0"/>
              <a:t>Considerable (harmful) effect on </a:t>
            </a:r>
            <a:r>
              <a:rPr lang="en-GB" i="1" dirty="0"/>
              <a:t>prices, employment </a:t>
            </a:r>
            <a:r>
              <a:rPr lang="en-GB" dirty="0"/>
              <a:t>and </a:t>
            </a:r>
            <a:r>
              <a:rPr lang="en-GB" i="1" dirty="0"/>
              <a:t>distribution of income</a:t>
            </a:r>
            <a:r>
              <a:rPr lang="en-GB" dirty="0"/>
              <a:t>:</a:t>
            </a:r>
          </a:p>
          <a:p>
            <a:pPr marL="144000"/>
            <a:r>
              <a:rPr lang="en-GB" dirty="0"/>
              <a:t>- Kleiner </a:t>
            </a:r>
            <a:r>
              <a:rPr lang="en-GB" i="1" dirty="0"/>
              <a:t>et al. </a:t>
            </a:r>
            <a:r>
              <a:rPr lang="en-GB" dirty="0"/>
              <a:t>show “licensing” vs “non-licensing” states for same activity have (a) </a:t>
            </a:r>
            <a:r>
              <a:rPr lang="en-GB" b="1" dirty="0"/>
              <a:t>less jobs </a:t>
            </a:r>
            <a:r>
              <a:rPr lang="en-GB" dirty="0"/>
              <a:t>for these sectors and (b) </a:t>
            </a:r>
            <a:r>
              <a:rPr lang="en-GB" b="1" dirty="0"/>
              <a:t>higher prices </a:t>
            </a:r>
            <a:r>
              <a:rPr lang="en-GB" dirty="0"/>
              <a:t>(and more income for licensed profession)</a:t>
            </a:r>
          </a:p>
          <a:p>
            <a:pPr marL="144000"/>
            <a:r>
              <a:rPr lang="en-GB" dirty="0"/>
              <a:t>- World Bank, OECD etc. find high licensing barriers </a:t>
            </a:r>
            <a:r>
              <a:rPr lang="en-GB" b="1" dirty="0"/>
              <a:t>prevent formalization </a:t>
            </a:r>
            <a:r>
              <a:rPr lang="en-GB" dirty="0"/>
              <a:t>and growth of informal activities, prevent entry into market of </a:t>
            </a:r>
            <a:r>
              <a:rPr lang="en-GB" b="1" dirty="0"/>
              <a:t>minorities</a:t>
            </a:r>
            <a:r>
              <a:rPr lang="en-GB" dirty="0"/>
              <a:t>, </a:t>
            </a:r>
            <a:r>
              <a:rPr lang="en-GB" b="1" dirty="0"/>
              <a:t>less-privileged-</a:t>
            </a:r>
            <a:r>
              <a:rPr lang="en-GB" dirty="0"/>
              <a:t>people (less formal education, connections, capital), etc.</a:t>
            </a:r>
          </a:p>
          <a:p>
            <a:pPr marL="144000"/>
            <a:r>
              <a:rPr lang="en-GB" dirty="0"/>
              <a:t>- </a:t>
            </a:r>
            <a:r>
              <a:rPr lang="en-GB" b="1" dirty="0"/>
              <a:t>Harms</a:t>
            </a:r>
            <a:r>
              <a:rPr lang="en-GB" dirty="0"/>
              <a:t> not only (potential or informal) </a:t>
            </a:r>
            <a:r>
              <a:rPr lang="en-GB" b="1" dirty="0"/>
              <a:t>providers but also recipients </a:t>
            </a:r>
            <a:r>
              <a:rPr lang="en-GB" dirty="0"/>
              <a:t>of care (‘less able to provide formal information’ </a:t>
            </a:r>
            <a:r>
              <a:rPr lang="fr-FR" b="0" i="0" dirty="0">
                <a:solidFill>
                  <a:srgbClr val="1F1F1F"/>
                </a:solidFill>
                <a:effectLst/>
                <a:latin typeface="Google Sans"/>
              </a:rPr>
              <a:t>≠ ‘not </a:t>
            </a:r>
            <a:r>
              <a:rPr lang="fr-FR" b="0" i="0" dirty="0" err="1">
                <a:solidFill>
                  <a:srgbClr val="1F1F1F"/>
                </a:solidFill>
                <a:effectLst/>
                <a:latin typeface="Google Sans"/>
              </a:rPr>
              <a:t>competent</a:t>
            </a:r>
            <a:r>
              <a:rPr lang="fr-FR" b="0" i="0" dirty="0">
                <a:solidFill>
                  <a:srgbClr val="1F1F1F"/>
                </a:solidFill>
                <a:effectLst/>
                <a:latin typeface="Google Sans"/>
              </a:rPr>
              <a:t> or able to </a:t>
            </a:r>
            <a:r>
              <a:rPr lang="fr-FR" b="0" i="0" dirty="0" err="1">
                <a:solidFill>
                  <a:srgbClr val="1F1F1F"/>
                </a:solidFill>
                <a:effectLst/>
                <a:latin typeface="Google Sans"/>
              </a:rPr>
              <a:t>provide</a:t>
            </a:r>
            <a:r>
              <a:rPr lang="fr-FR" b="0" i="0" dirty="0">
                <a:solidFill>
                  <a:srgbClr val="1F1F1F"/>
                </a:solidFill>
                <a:effectLst/>
                <a:latin typeface="Google Sans"/>
              </a:rPr>
              <a:t> </a:t>
            </a:r>
            <a:r>
              <a:rPr lang="fr-FR" b="0" i="0" dirty="0" err="1">
                <a:solidFill>
                  <a:srgbClr val="1F1F1F"/>
                </a:solidFill>
                <a:effectLst/>
                <a:latin typeface="Google Sans"/>
              </a:rPr>
              <a:t>quality</a:t>
            </a:r>
            <a:r>
              <a:rPr lang="fr-FR" b="0" i="0" dirty="0">
                <a:solidFill>
                  <a:srgbClr val="1F1F1F"/>
                </a:solidFill>
                <a:effectLst/>
                <a:latin typeface="Google Sans"/>
              </a:rPr>
              <a:t> care’)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7544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A5CA6DE-1C52-CE50-1293-4B2AA627A7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0482" y="3262625"/>
            <a:ext cx="8913886" cy="12527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BE73507-1175-DF91-1D23-2936B4128C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2946" y="4115989"/>
            <a:ext cx="7235536" cy="2664539"/>
          </a:xfrm>
          <a:prstGeom prst="rect">
            <a:avLst/>
          </a:prstGeom>
        </p:spPr>
      </p:pic>
      <p:sp>
        <p:nvSpPr>
          <p:cNvPr id="9" name="Title 5">
            <a:extLst>
              <a:ext uri="{FF2B5EF4-FFF2-40B4-BE49-F238E27FC236}">
                <a16:creationId xmlns:a16="http://schemas.microsoft.com/office/drawing/2014/main" id="{07F57FBF-11C5-245D-46C0-200500FB29FA}"/>
              </a:ext>
            </a:extLst>
          </p:cNvPr>
          <p:cNvSpPr txBox="1">
            <a:spLocks/>
          </p:cNvSpPr>
          <p:nvPr/>
        </p:nvSpPr>
        <p:spPr>
          <a:xfrm>
            <a:off x="1115446" y="843721"/>
            <a:ext cx="10393105" cy="225070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5400" b="1" dirty="0">
                <a:solidFill>
                  <a:schemeClr val="accent2"/>
                </a:solidFill>
              </a:rPr>
              <a:t>“All that shines is not gold…”</a:t>
            </a:r>
          </a:p>
          <a:p>
            <a:pPr algn="ctr"/>
            <a:endParaRPr lang="en-GB" sz="5400" b="1" dirty="0">
              <a:solidFill>
                <a:schemeClr val="accent2"/>
              </a:solidFill>
            </a:endParaRPr>
          </a:p>
          <a:p>
            <a:pPr algn="ctr"/>
            <a:r>
              <a:rPr lang="en-GB" sz="4000" b="1" dirty="0">
                <a:solidFill>
                  <a:schemeClr val="accent2"/>
                </a:solidFill>
              </a:rPr>
              <a:t>What difference a few years make!</a:t>
            </a:r>
            <a:endParaRPr lang="fr-FR" sz="40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280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145CE4-07FF-BE44-EE08-031638FF03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C99ABCC-F1B3-0C21-C368-4AE244F42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79" y="286603"/>
            <a:ext cx="10393105" cy="1099731"/>
          </a:xfrm>
        </p:spPr>
        <p:txBody>
          <a:bodyPr>
            <a:normAutofit fontScale="90000"/>
          </a:bodyPr>
          <a:lstStyle/>
          <a:p>
            <a:pPr algn="ctr"/>
            <a:r>
              <a:rPr lang="en-GB" sz="5400" b="1" dirty="0">
                <a:solidFill>
                  <a:schemeClr val="accent2"/>
                </a:solidFill>
              </a:rPr>
              <a:t>What do we know about formal internal control systems?</a:t>
            </a:r>
            <a:endParaRPr lang="fr-FR" sz="5400" b="1" dirty="0">
              <a:solidFill>
                <a:schemeClr val="accent2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FE02A37-760C-627F-B9A3-54475846E5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97278" y="1541252"/>
            <a:ext cx="4998721" cy="4790179"/>
          </a:xfrm>
          <a:solidFill>
            <a:schemeClr val="bg1"/>
          </a:solidFill>
        </p:spPr>
        <p:txBody>
          <a:bodyPr>
            <a:normAutofit lnSpcReduction="10000"/>
          </a:bodyPr>
          <a:lstStyle/>
          <a:p>
            <a:r>
              <a:rPr lang="en-GB" dirty="0"/>
              <a:t>Effectiveness to guarantee safety and quality is variable at best:</a:t>
            </a:r>
          </a:p>
          <a:p>
            <a:r>
              <a:rPr lang="en-GB" dirty="0"/>
              <a:t>- Focus on </a:t>
            </a:r>
            <a:r>
              <a:rPr lang="en-GB" b="1" dirty="0"/>
              <a:t>formal</a:t>
            </a:r>
            <a:r>
              <a:rPr lang="en-GB" dirty="0"/>
              <a:t> documentation of processes</a:t>
            </a:r>
          </a:p>
          <a:p>
            <a:r>
              <a:rPr lang="en-GB" dirty="0"/>
              <a:t>- </a:t>
            </a:r>
            <a:r>
              <a:rPr lang="en-GB" b="1" dirty="0"/>
              <a:t>Limited, if any, “reality checks” </a:t>
            </a:r>
            <a:r>
              <a:rPr lang="en-GB" dirty="0"/>
              <a:t>/ spot-checks</a:t>
            </a:r>
          </a:p>
          <a:p>
            <a:r>
              <a:rPr lang="en-GB" dirty="0"/>
              <a:t>- </a:t>
            </a:r>
            <a:r>
              <a:rPr lang="en-GB" b="1" dirty="0"/>
              <a:t>Take away valuable employee time </a:t>
            </a:r>
            <a:r>
              <a:rPr lang="en-GB" dirty="0"/>
              <a:t>for procedures, reports etc. </a:t>
            </a:r>
          </a:p>
          <a:p>
            <a:r>
              <a:rPr lang="en-GB" dirty="0"/>
              <a:t>- Effectiveness of external audits of quality management system is also variable at best – focus is likewise on formal procedures and formal compliance (not always deserving of the name “audit”)</a:t>
            </a:r>
          </a:p>
          <a:p>
            <a:r>
              <a:rPr lang="en-GB" dirty="0"/>
              <a:t>- All actors in the chain end up </a:t>
            </a:r>
            <a:r>
              <a:rPr lang="en-GB" b="1" dirty="0"/>
              <a:t>focusing on processes, with less time available to verify outcomes</a:t>
            </a:r>
          </a:p>
          <a:p>
            <a:endParaRPr lang="en-GB" dirty="0"/>
          </a:p>
          <a:p>
            <a:endParaRPr lang="fr-FR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67F8621-8118-7A62-7211-B0D0E46E4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9" y="1541252"/>
            <a:ext cx="5204605" cy="4635261"/>
          </a:xfrm>
          <a:solidFill>
            <a:schemeClr val="bg1"/>
          </a:solidFill>
        </p:spPr>
        <p:txBody>
          <a:bodyPr>
            <a:normAutofit lnSpcReduction="10000"/>
          </a:bodyPr>
          <a:lstStyle/>
          <a:p>
            <a:pPr marL="144000"/>
            <a:r>
              <a:rPr lang="fr-FR" dirty="0"/>
              <a:t>Can </a:t>
            </a:r>
            <a:r>
              <a:rPr lang="fr-FR" dirty="0" err="1"/>
              <a:t>actually</a:t>
            </a:r>
            <a:r>
              <a:rPr lang="fr-FR" dirty="0"/>
              <a:t> </a:t>
            </a:r>
            <a:r>
              <a:rPr lang="fr-FR" b="1" dirty="0" err="1"/>
              <a:t>distract</a:t>
            </a:r>
            <a:r>
              <a:rPr lang="fr-FR" b="1" dirty="0"/>
              <a:t> attention </a:t>
            </a:r>
            <a:r>
              <a:rPr lang="fr-FR" b="1" dirty="0" err="1"/>
              <a:t>from</a:t>
            </a:r>
            <a:r>
              <a:rPr lang="fr-FR" b="1" dirty="0"/>
              <a:t> </a:t>
            </a:r>
            <a:r>
              <a:rPr lang="fr-FR" b="1" dirty="0" err="1"/>
              <a:t>what</a:t>
            </a:r>
            <a:r>
              <a:rPr lang="fr-FR" b="1" dirty="0"/>
              <a:t> </a:t>
            </a:r>
            <a:r>
              <a:rPr lang="fr-FR" b="1" dirty="0" err="1"/>
              <a:t>really</a:t>
            </a:r>
            <a:r>
              <a:rPr lang="fr-FR" b="1" dirty="0"/>
              <a:t> </a:t>
            </a:r>
            <a:r>
              <a:rPr lang="fr-FR" b="1" dirty="0" err="1"/>
              <a:t>matters</a:t>
            </a:r>
            <a:r>
              <a:rPr lang="fr-FR" dirty="0"/>
              <a:t> and end up </a:t>
            </a:r>
            <a:r>
              <a:rPr lang="fr-FR" dirty="0" err="1"/>
              <a:t>make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easier</a:t>
            </a:r>
            <a:r>
              <a:rPr lang="fr-FR" dirty="0"/>
              <a:t> for </a:t>
            </a:r>
            <a:r>
              <a:rPr lang="fr-FR" dirty="0" err="1"/>
              <a:t>bad</a:t>
            </a:r>
            <a:r>
              <a:rPr lang="fr-FR" dirty="0"/>
              <a:t> practices to </a:t>
            </a:r>
            <a:r>
              <a:rPr lang="fr-FR" dirty="0" err="1"/>
              <a:t>remain</a:t>
            </a:r>
            <a:r>
              <a:rPr lang="fr-FR" dirty="0"/>
              <a:t> </a:t>
            </a:r>
            <a:r>
              <a:rPr lang="fr-FR" dirty="0" err="1"/>
              <a:t>hidden</a:t>
            </a:r>
            <a:r>
              <a:rPr lang="fr-FR" dirty="0"/>
              <a:t> in a ‘</a:t>
            </a:r>
            <a:r>
              <a:rPr lang="fr-FR" b="1" dirty="0" err="1"/>
              <a:t>bureaucratic</a:t>
            </a:r>
            <a:r>
              <a:rPr lang="fr-FR" b="1" dirty="0"/>
              <a:t> </a:t>
            </a:r>
            <a:r>
              <a:rPr lang="fr-FR" b="1" dirty="0" err="1"/>
              <a:t>fog</a:t>
            </a:r>
            <a:r>
              <a:rPr lang="fr-FR" dirty="0"/>
              <a:t>’:</a:t>
            </a:r>
          </a:p>
          <a:p>
            <a:pPr marL="144000"/>
            <a:r>
              <a:rPr lang="fr-FR" dirty="0"/>
              <a:t>- In France, major </a:t>
            </a:r>
            <a:r>
              <a:rPr lang="fr-FR" dirty="0" err="1"/>
              <a:t>scandal</a:t>
            </a:r>
            <a:r>
              <a:rPr lang="fr-FR" dirty="0"/>
              <a:t> in </a:t>
            </a:r>
            <a:r>
              <a:rPr lang="fr-FR" dirty="0" err="1"/>
              <a:t>recent</a:t>
            </a:r>
            <a:r>
              <a:rPr lang="fr-FR" dirty="0"/>
              <a:t> </a:t>
            </a:r>
            <a:r>
              <a:rPr lang="fr-FR" dirty="0" err="1"/>
              <a:t>years</a:t>
            </a:r>
            <a:r>
              <a:rPr lang="fr-FR" dirty="0"/>
              <a:t> </a:t>
            </a:r>
            <a:r>
              <a:rPr lang="fr-FR" dirty="0" err="1"/>
              <a:t>around</a:t>
            </a:r>
            <a:r>
              <a:rPr lang="fr-FR" dirty="0"/>
              <a:t> one of the main </a:t>
            </a:r>
            <a:r>
              <a:rPr lang="fr-FR" dirty="0" err="1"/>
              <a:t>firms</a:t>
            </a:r>
            <a:r>
              <a:rPr lang="fr-FR" dirty="0"/>
              <a:t> </a:t>
            </a:r>
            <a:r>
              <a:rPr lang="fr-FR" dirty="0" err="1"/>
              <a:t>managing</a:t>
            </a:r>
            <a:r>
              <a:rPr lang="fr-FR" dirty="0"/>
              <a:t> long-</a:t>
            </a:r>
            <a:r>
              <a:rPr lang="fr-FR" dirty="0" err="1"/>
              <a:t>term</a:t>
            </a:r>
            <a:r>
              <a:rPr lang="fr-FR" dirty="0"/>
              <a:t> </a:t>
            </a:r>
            <a:r>
              <a:rPr lang="fr-FR" dirty="0" err="1"/>
              <a:t>medicalized</a:t>
            </a:r>
            <a:r>
              <a:rPr lang="fr-FR" dirty="0"/>
              <a:t> care homes – but </a:t>
            </a:r>
            <a:r>
              <a:rPr lang="fr-FR" dirty="0" err="1"/>
              <a:t>this</a:t>
            </a:r>
            <a:r>
              <a:rPr lang="fr-FR" dirty="0"/>
              <a:t> group </a:t>
            </a:r>
            <a:r>
              <a:rPr lang="fr-FR" dirty="0" err="1"/>
              <a:t>had</a:t>
            </a:r>
            <a:r>
              <a:rPr lang="fr-FR" dirty="0"/>
              <a:t> </a:t>
            </a:r>
            <a:r>
              <a:rPr lang="fr-FR" dirty="0" err="1"/>
              <a:t>so</a:t>
            </a:r>
            <a:r>
              <a:rPr lang="fr-FR" dirty="0"/>
              <a:t> </a:t>
            </a:r>
            <a:r>
              <a:rPr lang="fr-FR" dirty="0" err="1"/>
              <a:t>many</a:t>
            </a:r>
            <a:r>
              <a:rPr lang="fr-FR" dirty="0"/>
              <a:t> certifications!</a:t>
            </a:r>
          </a:p>
          <a:p>
            <a:pPr marL="144000"/>
            <a:r>
              <a:rPr lang="fr-FR" dirty="0"/>
              <a:t>- For 1.5 </a:t>
            </a:r>
            <a:r>
              <a:rPr lang="fr-FR" dirty="0" err="1"/>
              <a:t>years</a:t>
            </a:r>
            <a:r>
              <a:rPr lang="fr-FR" dirty="0"/>
              <a:t> </a:t>
            </a:r>
            <a:r>
              <a:rPr lang="fr-FR" dirty="0" err="1"/>
              <a:t>am</a:t>
            </a:r>
            <a:r>
              <a:rPr lang="fr-FR" dirty="0"/>
              <a:t> </a:t>
            </a:r>
            <a:r>
              <a:rPr lang="fr-FR" dirty="0" err="1"/>
              <a:t>supporting</a:t>
            </a:r>
            <a:r>
              <a:rPr lang="fr-FR" dirty="0"/>
              <a:t> total transformation of a </a:t>
            </a:r>
            <a:r>
              <a:rPr lang="fr-FR" dirty="0" err="1"/>
              <a:t>government</a:t>
            </a:r>
            <a:r>
              <a:rPr lang="fr-FR" dirty="0"/>
              <a:t> </a:t>
            </a:r>
            <a:r>
              <a:rPr lang="fr-FR" dirty="0" err="1"/>
              <a:t>agency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had</a:t>
            </a:r>
            <a:r>
              <a:rPr lang="fr-FR" dirty="0"/>
              <a:t> </a:t>
            </a:r>
            <a:r>
              <a:rPr lang="fr-FR" dirty="0" err="1"/>
              <a:t>very</a:t>
            </a:r>
            <a:r>
              <a:rPr lang="fr-FR" dirty="0"/>
              <a:t> ‘</a:t>
            </a:r>
            <a:r>
              <a:rPr lang="fr-FR" dirty="0" err="1"/>
              <a:t>serious</a:t>
            </a:r>
            <a:r>
              <a:rPr lang="fr-FR" dirty="0"/>
              <a:t> </a:t>
            </a:r>
            <a:r>
              <a:rPr lang="fr-FR" dirty="0" err="1"/>
              <a:t>looking</a:t>
            </a:r>
            <a:r>
              <a:rPr lang="fr-FR" dirty="0"/>
              <a:t>’ ISO certifications as inspection body, but </a:t>
            </a:r>
            <a:r>
              <a:rPr lang="fr-FR" dirty="0" err="1"/>
              <a:t>recurring</a:t>
            </a:r>
            <a:r>
              <a:rPr lang="fr-FR" dirty="0"/>
              <a:t> corruption </a:t>
            </a:r>
            <a:r>
              <a:rPr lang="fr-FR" dirty="0" err="1"/>
              <a:t>scandals</a:t>
            </a:r>
            <a:endParaRPr lang="fr-FR" dirty="0"/>
          </a:p>
          <a:p>
            <a:pPr marL="144000"/>
            <a:r>
              <a:rPr lang="fr-FR" dirty="0"/>
              <a:t>- Focus on </a:t>
            </a:r>
            <a:r>
              <a:rPr lang="fr-FR" dirty="0" err="1"/>
              <a:t>formal</a:t>
            </a:r>
            <a:r>
              <a:rPr lang="fr-FR" dirty="0"/>
              <a:t> </a:t>
            </a:r>
            <a:r>
              <a:rPr lang="fr-FR" dirty="0" err="1"/>
              <a:t>processes</a:t>
            </a:r>
            <a:r>
              <a:rPr lang="fr-FR" dirty="0"/>
              <a:t> made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i="1" dirty="0" err="1"/>
              <a:t>easier</a:t>
            </a:r>
            <a:r>
              <a:rPr lang="fr-FR" i="1" dirty="0"/>
              <a:t> </a:t>
            </a:r>
            <a:r>
              <a:rPr lang="fr-FR" dirty="0"/>
              <a:t>to </a:t>
            </a:r>
            <a:r>
              <a:rPr lang="fr-FR" dirty="0" err="1"/>
              <a:t>hide</a:t>
            </a:r>
            <a:r>
              <a:rPr lang="fr-FR" dirty="0"/>
              <a:t> </a:t>
            </a:r>
            <a:r>
              <a:rPr lang="fr-FR" dirty="0" err="1"/>
              <a:t>corrupt</a:t>
            </a:r>
            <a:r>
              <a:rPr lang="fr-FR" dirty="0"/>
              <a:t>/</a:t>
            </a:r>
            <a:r>
              <a:rPr lang="fr-FR" dirty="0" err="1"/>
              <a:t>unsafe</a:t>
            </a:r>
            <a:r>
              <a:rPr lang="fr-FR" dirty="0"/>
              <a:t>/abusive practices</a:t>
            </a:r>
          </a:p>
        </p:txBody>
      </p:sp>
    </p:spTree>
    <p:extLst>
      <p:ext uri="{BB962C8B-B14F-4D97-AF65-F5344CB8AC3E}">
        <p14:creationId xmlns:p14="http://schemas.microsoft.com/office/powerpoint/2010/main" val="4169532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Thème Office 2013 – 2022">
  <a:themeElements>
    <a:clrScheme name="Thème Office 2013 – 20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 2013 – 2022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 2013 – 2022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20211215 Lithuania LCSS presentation">
  <a:themeElements>
    <a:clrScheme name="Custom 2">
      <a:dk1>
        <a:sysClr val="windowText" lastClr="000000"/>
      </a:dk1>
      <a:lt1>
        <a:sysClr val="window" lastClr="FFFFFF"/>
      </a:lt1>
      <a:dk2>
        <a:srgbClr val="004F99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ptimus">
  <a:themeElements>
    <a:clrScheme name="_OSBR 2019">
      <a:dk1>
        <a:srgbClr val="000000"/>
      </a:dk1>
      <a:lt1>
        <a:srgbClr val="FFFFFF"/>
      </a:lt1>
      <a:dk2>
        <a:srgbClr val="72246C"/>
      </a:dk2>
      <a:lt2>
        <a:srgbClr val="707372"/>
      </a:lt2>
      <a:accent1>
        <a:srgbClr val="004C97"/>
      </a:accent1>
      <a:accent2>
        <a:srgbClr val="FF671F"/>
      </a:accent2>
      <a:accent3>
        <a:srgbClr val="00A3E0"/>
      </a:accent3>
      <a:accent4>
        <a:srgbClr val="EF3340"/>
      </a:accent4>
      <a:accent5>
        <a:srgbClr val="00B398"/>
      </a:accent5>
      <a:accent6>
        <a:srgbClr val="FFD700"/>
      </a:accent6>
      <a:hlink>
        <a:srgbClr val="009A44"/>
      </a:hlink>
      <a:folHlink>
        <a:srgbClr val="707372"/>
      </a:folHlink>
    </a:clrScheme>
    <a:fontScheme name="Optimus SBR 2019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699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699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2000" dirty="0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>
    <a:extraClrScheme>
      <a:clrScheme name="Primcomp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mcomp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imcomp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mcomp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mcomp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mcomp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imcomp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ptimus" id="{01880307-3E05-4E04-9BEB-5BFDB4C601C7}" vid="{1697F029-A021-4D12-B19E-8ACA639DC3D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4331</TotalTime>
  <Words>965</Words>
  <Application>Microsoft Office PowerPoint</Application>
  <PresentationFormat>Widescreen</PresentationFormat>
  <Paragraphs>128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9" baseType="lpstr">
      <vt:lpstr>Abadi</vt:lpstr>
      <vt:lpstr>Aptos</vt:lpstr>
      <vt:lpstr>Arial</vt:lpstr>
      <vt:lpstr>Bahnschrift SemiBold SemiConden</vt:lpstr>
      <vt:lpstr>Calibri</vt:lpstr>
      <vt:lpstr>Calibri Light</vt:lpstr>
      <vt:lpstr>Century Gothic</vt:lpstr>
      <vt:lpstr>Courier New</vt:lpstr>
      <vt:lpstr>FontAwesome</vt:lpstr>
      <vt:lpstr>Georgia</vt:lpstr>
      <vt:lpstr>Google Sans</vt:lpstr>
      <vt:lpstr>Lato</vt:lpstr>
      <vt:lpstr>Lato Light</vt:lpstr>
      <vt:lpstr>Lato Regular</vt:lpstr>
      <vt:lpstr>Montserrat</vt:lpstr>
      <vt:lpstr>Segoe UI</vt:lpstr>
      <vt:lpstr>Times New Roman</vt:lpstr>
      <vt:lpstr>Wingdings</vt:lpstr>
      <vt:lpstr>Retrospect</vt:lpstr>
      <vt:lpstr>Thème Office 2013 – 2022</vt:lpstr>
      <vt:lpstr>1_20211215 Lithuania LCSS presentation</vt:lpstr>
      <vt:lpstr>Optimus</vt:lpstr>
      <vt:lpstr>think-cell Slide</vt:lpstr>
      <vt:lpstr>PowerPoint Presentation</vt:lpstr>
      <vt:lpstr>Two important barriers to greater equity:</vt:lpstr>
      <vt:lpstr>PowerPoint Presentation</vt:lpstr>
      <vt:lpstr>Formalistic licensing gives market dominance to larger firms</vt:lpstr>
      <vt:lpstr>Over 400 pages of guidance for the licensing application? </vt:lpstr>
      <vt:lpstr>PowerPoint Presentation</vt:lpstr>
      <vt:lpstr>What do we know about licensing?</vt:lpstr>
      <vt:lpstr>PowerPoint Presentation</vt:lpstr>
      <vt:lpstr>What do we know about formal internal control system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tting The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Tunnel-vision” in risk regulation –  a major obstacle for the energy transition</dc:title>
  <dc:creator>Florentin Blanc</dc:creator>
  <cp:lastModifiedBy>Florentin Blanc</cp:lastModifiedBy>
  <cp:revision>111</cp:revision>
  <dcterms:created xsi:type="dcterms:W3CDTF">2024-03-13T08:34:48Z</dcterms:created>
  <dcterms:modified xsi:type="dcterms:W3CDTF">2024-12-09T11:43:28Z</dcterms:modified>
</cp:coreProperties>
</file>